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6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7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1" r:id="rId1"/>
    <p:sldMasterId id="2147484292" r:id="rId2"/>
    <p:sldMasterId id="2147484537" r:id="rId3"/>
    <p:sldMasterId id="2147484319" r:id="rId4"/>
    <p:sldMasterId id="2147484353" r:id="rId5"/>
    <p:sldMasterId id="2147484393" r:id="rId6"/>
    <p:sldMasterId id="2147484437" r:id="rId7"/>
  </p:sldMasterIdLst>
  <p:sldIdLst>
    <p:sldId id="256" r:id="rId8"/>
    <p:sldId id="298" r:id="rId9"/>
    <p:sldId id="276" r:id="rId10"/>
    <p:sldId id="271" r:id="rId11"/>
    <p:sldId id="260" r:id="rId12"/>
    <p:sldId id="272" r:id="rId13"/>
    <p:sldId id="262" r:id="rId14"/>
    <p:sldId id="277" r:id="rId15"/>
    <p:sldId id="278" r:id="rId16"/>
    <p:sldId id="280" r:id="rId17"/>
    <p:sldId id="281" r:id="rId18"/>
    <p:sldId id="292" r:id="rId19"/>
    <p:sldId id="282" r:id="rId20"/>
    <p:sldId id="283" r:id="rId21"/>
    <p:sldId id="299" r:id="rId22"/>
    <p:sldId id="318" r:id="rId23"/>
    <p:sldId id="311" r:id="rId24"/>
    <p:sldId id="301" r:id="rId25"/>
    <p:sldId id="312" r:id="rId26"/>
    <p:sldId id="317" r:id="rId27"/>
    <p:sldId id="303" r:id="rId28"/>
    <p:sldId id="313" r:id="rId29"/>
    <p:sldId id="319" r:id="rId30"/>
    <p:sldId id="308" r:id="rId31"/>
    <p:sldId id="305" r:id="rId32"/>
    <p:sldId id="314" r:id="rId33"/>
    <p:sldId id="320" r:id="rId34"/>
    <p:sldId id="306" r:id="rId35"/>
    <p:sldId id="315" r:id="rId36"/>
    <p:sldId id="321" r:id="rId37"/>
    <p:sldId id="309" r:id="rId38"/>
    <p:sldId id="316" r:id="rId39"/>
    <p:sldId id="322" r:id="rId40"/>
    <p:sldId id="295" r:id="rId41"/>
    <p:sldId id="297" r:id="rId42"/>
  </p:sldIdLst>
  <p:sldSz cx="9144000" cy="5143500" type="screen16x9"/>
  <p:notesSz cx="6858000" cy="9144000"/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5" userDrawn="1">
          <p15:clr>
            <a:srgbClr val="A4A3A4"/>
          </p15:clr>
        </p15:guide>
        <p15:guide id="2" pos="272" userDrawn="1">
          <p15:clr>
            <a:srgbClr val="A4A3A4"/>
          </p15:clr>
        </p15:guide>
        <p15:guide id="3" pos="5488" userDrawn="1">
          <p15:clr>
            <a:srgbClr val="A4A3A4"/>
          </p15:clr>
        </p15:guide>
        <p15:guide id="4" pos="2880" userDrawn="1">
          <p15:clr>
            <a:srgbClr val="A4A3A4"/>
          </p15:clr>
        </p15:guide>
        <p15:guide id="5" orient="horz" pos="1620" userDrawn="1">
          <p15:clr>
            <a:srgbClr val="A4A3A4"/>
          </p15:clr>
        </p15:guide>
        <p15:guide id="7" orient="horz" pos="1008" userDrawn="1">
          <p15:clr>
            <a:srgbClr val="A4A3A4"/>
          </p15:clr>
        </p15:guide>
        <p15:guide id="8" orient="horz" pos="232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F5D9"/>
    <a:srgbClr val="008C95"/>
    <a:srgbClr val="00313C"/>
    <a:srgbClr val="005255"/>
    <a:srgbClr val="77E2C3"/>
    <a:srgbClr val="E04D39"/>
    <a:srgbClr val="99CC00"/>
    <a:srgbClr val="FFC000"/>
    <a:srgbClr val="C00000"/>
    <a:srgbClr val="F58A1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153" autoAdjust="0"/>
    <p:restoredTop sz="94660"/>
  </p:normalViewPr>
  <p:slideViewPr>
    <p:cSldViewPr snapToGrid="0">
      <p:cViewPr>
        <p:scale>
          <a:sx n="196" d="100"/>
          <a:sy n="196" d="100"/>
        </p:scale>
        <p:origin x="40" y="-808"/>
      </p:cViewPr>
      <p:guideLst>
        <p:guide orient="horz" pos="735"/>
        <p:guide pos="272"/>
        <p:guide pos="5488"/>
        <p:guide pos="2880"/>
        <p:guide orient="horz" pos="1620"/>
        <p:guide orient="horz" pos="1008"/>
        <p:guide orient="horz" pos="232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presProps" Target="presProps.xml"/><Relationship Id="rId8" Type="http://schemas.openxmlformats.org/officeDocument/2006/relationships/slide" Target="slides/slid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tableStyles" Target="tableStyles.xml"/><Relationship Id="rId20" Type="http://schemas.openxmlformats.org/officeDocument/2006/relationships/slide" Target="slides/slide13.xml"/><Relationship Id="rId41" Type="http://schemas.openxmlformats.org/officeDocument/2006/relationships/slide" Target="slides/slide34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4.wmf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wmf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5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wmf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6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wmf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5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7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3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wmf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- нанолис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9181869" y="3"/>
            <a:ext cx="2781533" cy="5143499"/>
            <a:chOff x="9181867" y="1"/>
            <a:chExt cx="2781533" cy="514349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9181867" y="1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576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9256592" y="6832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9256592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9256592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9256592" y="3367556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9256592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9256592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9256592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9256592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9256592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9256592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9256594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9256594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9256594" y="3367559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9256594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9256594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56594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9256594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56594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56594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9" name="Прямая соединительная линия 8"/>
            <p:cNvCxnSpPr/>
            <p:nvPr/>
          </p:nvCxnSpPr>
          <p:spPr bwMode="auto">
            <a:xfrm>
              <a:off x="9753600" y="444500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7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901AC770-E943-4FB7-BE64-A63C081C98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566" y="796323"/>
            <a:ext cx="2694711" cy="3638650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487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4570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фото в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78072"/>
            <a:ext cx="9144000" cy="1665428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02217" y="898072"/>
            <a:ext cx="8506117" cy="1298132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kumimoji="0" lang="ru-RU" sz="3200" b="0" i="0" u="none" strike="noStrike" kern="1200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defTabSz="914395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dirty="0"/>
              <a:t>Название презентации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 bwMode="auto">
          <a:xfrm>
            <a:off x="393539" y="2429278"/>
            <a:ext cx="0" cy="6969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Прямая соединительная линия 38"/>
          <p:cNvCxnSpPr/>
          <p:nvPr/>
        </p:nvCxnSpPr>
        <p:spPr bwMode="auto">
          <a:xfrm>
            <a:off x="5577368" y="2429278"/>
            <a:ext cx="0" cy="6969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76184" y="2351925"/>
            <a:ext cx="5024960" cy="774322"/>
          </a:xfrm>
          <a:prstGeom prst="rect">
            <a:avLst/>
          </a:prstGeom>
        </p:spPr>
        <p:txBody>
          <a:bodyPr tIns="3600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653593" y="2351925"/>
            <a:ext cx="3154741" cy="774322"/>
          </a:xfrm>
          <a:prstGeom prst="rect">
            <a:avLst/>
          </a:prstGeom>
        </p:spPr>
        <p:txBody>
          <a:bodyPr tIns="36000"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998" y="366765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5838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фотоколла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64485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1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64487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64485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8" name="Полилиния 37"/>
          <p:cNvSpPr/>
          <p:nvPr/>
        </p:nvSpPr>
        <p:spPr bwMode="auto">
          <a:xfrm>
            <a:off x="4844394" y="-1929"/>
            <a:ext cx="4305387" cy="5153178"/>
          </a:xfrm>
          <a:custGeom>
            <a:avLst/>
            <a:gdLst>
              <a:gd name="connsiteX0" fmla="*/ 0 w 4360542"/>
              <a:gd name="connsiteY0" fmla="*/ 0 h 5143500"/>
              <a:gd name="connsiteX1" fmla="*/ 367383 w 4360542"/>
              <a:gd name="connsiteY1" fmla="*/ 0 h 5143500"/>
              <a:gd name="connsiteX2" fmla="*/ 2298483 w 4360542"/>
              <a:gd name="connsiteY2" fmla="*/ 2540650 h 5143500"/>
              <a:gd name="connsiteX3" fmla="*/ 4305387 w 4360542"/>
              <a:gd name="connsiteY3" fmla="*/ 148915 h 5143500"/>
              <a:gd name="connsiteX4" fmla="*/ 4360542 w 4360542"/>
              <a:gd name="connsiteY4" fmla="*/ 195195 h 5143500"/>
              <a:gd name="connsiteX5" fmla="*/ 1896442 w 4360542"/>
              <a:gd name="connsiteY5" fmla="*/ 3131796 h 5143500"/>
              <a:gd name="connsiteX6" fmla="*/ 367383 w 4360542"/>
              <a:gd name="connsiteY6" fmla="*/ 5143500 h 5143500"/>
              <a:gd name="connsiteX7" fmla="*/ 0 w 4360542"/>
              <a:gd name="connsiteY7" fmla="*/ 5143500 h 5143500"/>
              <a:gd name="connsiteX0" fmla="*/ 0 w 4360542"/>
              <a:gd name="connsiteY0" fmla="*/ 0 h 5143500"/>
              <a:gd name="connsiteX1" fmla="*/ 367383 w 4360542"/>
              <a:gd name="connsiteY1" fmla="*/ 0 h 5143500"/>
              <a:gd name="connsiteX2" fmla="*/ 2298483 w 4360542"/>
              <a:gd name="connsiteY2" fmla="*/ 2540650 h 5143500"/>
              <a:gd name="connsiteX3" fmla="*/ 4305387 w 4360542"/>
              <a:gd name="connsiteY3" fmla="*/ 148915 h 5143500"/>
              <a:gd name="connsiteX4" fmla="*/ 4360542 w 4360542"/>
              <a:gd name="connsiteY4" fmla="*/ 195195 h 5143500"/>
              <a:gd name="connsiteX5" fmla="*/ 1896442 w 4360542"/>
              <a:gd name="connsiteY5" fmla="*/ 3131796 h 5143500"/>
              <a:gd name="connsiteX6" fmla="*/ 150407 w 4360542"/>
              <a:gd name="connsiteY6" fmla="*/ 5143500 h 5143500"/>
              <a:gd name="connsiteX7" fmla="*/ 0 w 4360542"/>
              <a:gd name="connsiteY7" fmla="*/ 5143500 h 5143500"/>
              <a:gd name="connsiteX8" fmla="*/ 0 w 4360542"/>
              <a:gd name="connsiteY8" fmla="*/ 0 h 5143500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298483 w 4360542"/>
              <a:gd name="connsiteY2" fmla="*/ 2540650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896442 w 4360542"/>
              <a:gd name="connsiteY5" fmla="*/ 3131796 h 5151249"/>
              <a:gd name="connsiteX6" fmla="*/ 150407 w 4360542"/>
              <a:gd name="connsiteY6" fmla="*/ 5151249 h 5151249"/>
              <a:gd name="connsiteX7" fmla="*/ 0 w 4360542"/>
              <a:gd name="connsiteY7" fmla="*/ 5143500 h 5151249"/>
              <a:gd name="connsiteX8" fmla="*/ 0 w 4360542"/>
              <a:gd name="connsiteY8" fmla="*/ 0 h 5151249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298483 w 4360542"/>
              <a:gd name="connsiteY2" fmla="*/ 2540650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290766 w 4360542"/>
              <a:gd name="connsiteY2" fmla="*/ 2527146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333206 w 4360542"/>
              <a:gd name="connsiteY2" fmla="*/ 2480848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0 h 5151249"/>
              <a:gd name="connsiteX1" fmla="*/ 423327 w 4360542"/>
              <a:gd name="connsiteY1" fmla="*/ 1929 h 5151249"/>
              <a:gd name="connsiteX2" fmla="*/ 2333206 w 4360542"/>
              <a:gd name="connsiteY2" fmla="*/ 2480848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1929 h 5153178"/>
              <a:gd name="connsiteX1" fmla="*/ 427185 w 4360542"/>
              <a:gd name="connsiteY1" fmla="*/ 0 h 5153178"/>
              <a:gd name="connsiteX2" fmla="*/ 2333206 w 4360542"/>
              <a:gd name="connsiteY2" fmla="*/ 2482777 h 5153178"/>
              <a:gd name="connsiteX3" fmla="*/ 4305387 w 4360542"/>
              <a:gd name="connsiteY3" fmla="*/ 150844 h 5153178"/>
              <a:gd name="connsiteX4" fmla="*/ 4360542 w 4360542"/>
              <a:gd name="connsiteY4" fmla="*/ 197124 h 5153178"/>
              <a:gd name="connsiteX5" fmla="*/ 150407 w 4360542"/>
              <a:gd name="connsiteY5" fmla="*/ 5153178 h 5153178"/>
              <a:gd name="connsiteX6" fmla="*/ 0 w 4360542"/>
              <a:gd name="connsiteY6" fmla="*/ 5145429 h 5153178"/>
              <a:gd name="connsiteX7" fmla="*/ 0 w 4360542"/>
              <a:gd name="connsiteY7" fmla="*/ 1929 h 5153178"/>
              <a:gd name="connsiteX0" fmla="*/ 0 w 4305387"/>
              <a:gd name="connsiteY0" fmla="*/ 1929 h 5153178"/>
              <a:gd name="connsiteX1" fmla="*/ 427185 w 4305387"/>
              <a:gd name="connsiteY1" fmla="*/ 0 h 5153178"/>
              <a:gd name="connsiteX2" fmla="*/ 2333206 w 4305387"/>
              <a:gd name="connsiteY2" fmla="*/ 2482777 h 5153178"/>
              <a:gd name="connsiteX3" fmla="*/ 4305387 w 4305387"/>
              <a:gd name="connsiteY3" fmla="*/ 150844 h 5153178"/>
              <a:gd name="connsiteX4" fmla="*/ 4302669 w 4305387"/>
              <a:gd name="connsiteY4" fmla="*/ 272359 h 5153178"/>
              <a:gd name="connsiteX5" fmla="*/ 150407 w 4305387"/>
              <a:gd name="connsiteY5" fmla="*/ 5153178 h 5153178"/>
              <a:gd name="connsiteX6" fmla="*/ 0 w 4305387"/>
              <a:gd name="connsiteY6" fmla="*/ 5145429 h 5153178"/>
              <a:gd name="connsiteX7" fmla="*/ 0 w 4305387"/>
              <a:gd name="connsiteY7" fmla="*/ 1929 h 5153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305387" h="5153178">
                <a:moveTo>
                  <a:pt x="0" y="1929"/>
                </a:moveTo>
                <a:lnTo>
                  <a:pt x="427185" y="0"/>
                </a:lnTo>
                <a:lnTo>
                  <a:pt x="2333206" y="2482777"/>
                </a:lnTo>
                <a:lnTo>
                  <a:pt x="4305387" y="150844"/>
                </a:lnTo>
                <a:lnTo>
                  <a:pt x="4302669" y="272359"/>
                </a:lnTo>
                <a:lnTo>
                  <a:pt x="150407" y="5153178"/>
                </a:lnTo>
                <a:lnTo>
                  <a:pt x="0" y="5145429"/>
                </a:lnTo>
                <a:lnTo>
                  <a:pt x="0" y="1929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Рисунок 13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5003145" y="170985"/>
            <a:ext cx="4137788" cy="4972515"/>
          </a:xfrm>
          <a:custGeom>
            <a:avLst/>
            <a:gdLst>
              <a:gd name="connsiteX0" fmla="*/ 0 w 4126526"/>
              <a:gd name="connsiteY0" fmla="*/ 0 h 4838700"/>
              <a:gd name="connsiteX1" fmla="*/ 4126526 w 4126526"/>
              <a:gd name="connsiteY1" fmla="*/ 0 h 4838700"/>
              <a:gd name="connsiteX2" fmla="*/ 4126526 w 4126526"/>
              <a:gd name="connsiteY2" fmla="*/ 4838700 h 4838700"/>
              <a:gd name="connsiteX3" fmla="*/ 0 w 4126526"/>
              <a:gd name="connsiteY3" fmla="*/ 4838700 h 4838700"/>
              <a:gd name="connsiteX4" fmla="*/ 0 w 4126526"/>
              <a:gd name="connsiteY4" fmla="*/ 0 h 4838700"/>
              <a:gd name="connsiteX0" fmla="*/ 4108938 w 4126526"/>
              <a:gd name="connsiteY0" fmla="*/ 5862 h 4838700"/>
              <a:gd name="connsiteX1" fmla="*/ 4126526 w 4126526"/>
              <a:gd name="connsiteY1" fmla="*/ 0 h 4838700"/>
              <a:gd name="connsiteX2" fmla="*/ 4126526 w 4126526"/>
              <a:gd name="connsiteY2" fmla="*/ 4838700 h 4838700"/>
              <a:gd name="connsiteX3" fmla="*/ 0 w 4126526"/>
              <a:gd name="connsiteY3" fmla="*/ 4838700 h 4838700"/>
              <a:gd name="connsiteX4" fmla="*/ 4108938 w 4126526"/>
              <a:gd name="connsiteY4" fmla="*/ 5862 h 4838700"/>
              <a:gd name="connsiteX0" fmla="*/ 4108938 w 4136800"/>
              <a:gd name="connsiteY0" fmla="*/ 40794 h 4873632"/>
              <a:gd name="connsiteX1" fmla="*/ 4136800 w 4136800"/>
              <a:gd name="connsiteY1" fmla="*/ 0 h 4873632"/>
              <a:gd name="connsiteX2" fmla="*/ 4126526 w 4136800"/>
              <a:gd name="connsiteY2" fmla="*/ 4873632 h 4873632"/>
              <a:gd name="connsiteX3" fmla="*/ 0 w 4136800"/>
              <a:gd name="connsiteY3" fmla="*/ 4873632 h 4873632"/>
              <a:gd name="connsiteX4" fmla="*/ 4108938 w 4136800"/>
              <a:gd name="connsiteY4" fmla="*/ 40794 h 4873632"/>
              <a:gd name="connsiteX0" fmla="*/ 4108938 w 4137788"/>
              <a:gd name="connsiteY0" fmla="*/ 40794 h 4873632"/>
              <a:gd name="connsiteX1" fmla="*/ 4136800 w 4137788"/>
              <a:gd name="connsiteY1" fmla="*/ 0 h 4873632"/>
              <a:gd name="connsiteX2" fmla="*/ 4136800 w 4137788"/>
              <a:gd name="connsiteY2" fmla="*/ 4873632 h 4873632"/>
              <a:gd name="connsiteX3" fmla="*/ 0 w 4137788"/>
              <a:gd name="connsiteY3" fmla="*/ 4873632 h 4873632"/>
              <a:gd name="connsiteX4" fmla="*/ 4108938 w 4137788"/>
              <a:gd name="connsiteY4" fmla="*/ 40794 h 4873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37788" h="4873632">
                <a:moveTo>
                  <a:pt x="4108938" y="40794"/>
                </a:moveTo>
                <a:lnTo>
                  <a:pt x="4136800" y="0"/>
                </a:lnTo>
                <a:cubicBezTo>
                  <a:pt x="4133375" y="1624544"/>
                  <a:pt x="4140225" y="3249088"/>
                  <a:pt x="4136800" y="4873632"/>
                </a:cubicBezTo>
                <a:lnTo>
                  <a:pt x="0" y="4873632"/>
                </a:lnTo>
                <a:lnTo>
                  <a:pt x="4108938" y="40794"/>
                </a:lnTo>
                <a:close/>
              </a:path>
            </a:pathLst>
          </a:custGeom>
          <a:noFill/>
          <a:ln w="1905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anchor="b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21" hasCustomPrompt="1"/>
          </p:nvPr>
        </p:nvSpPr>
        <p:spPr>
          <a:xfrm>
            <a:off x="5430371" y="0"/>
            <a:ext cx="3735147" cy="2239922"/>
          </a:xfrm>
          <a:prstGeom prst="flowChartMerge">
            <a:avLst/>
          </a:prstGeo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485" y="357166"/>
            <a:ext cx="876123" cy="165600"/>
          </a:xfrm>
          <a:prstGeom prst="rect">
            <a:avLst/>
          </a:prstGeom>
        </p:spPr>
      </p:pic>
      <p:sp>
        <p:nvSpPr>
          <p:cNvPr id="14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15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6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7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18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19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0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1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2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23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4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25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26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7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8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29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0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1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2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23862231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u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5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049" y="2291184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506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бирюзовый 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67631"/>
            <a:ext cx="3691499" cy="3983742"/>
          </a:xfrm>
          <a:prstGeom prst="rect">
            <a:avLst/>
          </a:prstGeom>
        </p:spPr>
      </p:pic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2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2031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1438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84308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17674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39625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9859878"/>
              </p:ext>
            </p:ext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55600" y="1477755"/>
            <a:ext cx="8606460" cy="634350"/>
          </a:xfrm>
          <a:prstGeom prst="rect">
            <a:avLst/>
          </a:prstGeom>
        </p:spPr>
        <p:txBody>
          <a:bodyPr anchor="t"/>
          <a:lstStyle>
            <a:lvl1pPr algn="l">
              <a:defRPr sz="2000" b="0" cap="all" baseline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99569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55601" y="1729716"/>
            <a:ext cx="8607046" cy="1021556"/>
          </a:xfrm>
          <a:prstGeom prst="rect">
            <a:avLst/>
          </a:prstGeom>
        </p:spPr>
        <p:txBody>
          <a:bodyPr anchor="t"/>
          <a:lstStyle>
            <a:lvl1pPr algn="ctr">
              <a:defRPr sz="18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7063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47" imgH="348" progId="TCLayout.ActiveDocument.1">
                  <p:embed/>
                </p:oleObj>
              </mc:Choice>
              <mc:Fallback>
                <p:oleObj name="Слайд think-cell" r:id="rId3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7" name="Прямая соединительная линия 6"/>
          <p:cNvCxnSpPr>
            <a:cxnSpLocks/>
          </p:cNvCxnSpPr>
          <p:nvPr/>
        </p:nvCxnSpPr>
        <p:spPr bwMode="auto">
          <a:xfrm>
            <a:off x="631317" y="1630913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620707" y="1630913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Текст 18"/>
          <p:cNvSpPr>
            <a:spLocks noGrp="1"/>
          </p:cNvSpPr>
          <p:nvPr>
            <p:ph type="body" sz="quarter" idx="13"/>
          </p:nvPr>
        </p:nvSpPr>
        <p:spPr>
          <a:xfrm>
            <a:off x="612282" y="1302635"/>
            <a:ext cx="2951754" cy="217646"/>
          </a:xfrm>
          <a:prstGeom prst="rect">
            <a:avLst/>
          </a:prstGeom>
        </p:spPr>
        <p:txBody>
          <a:bodyPr/>
          <a:lstStyle>
            <a:lvl1pPr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527635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Прямая соединительная линия 12"/>
          <p:cNvCxnSpPr>
            <a:endCxn id="36" idx="3"/>
          </p:cNvCxnSpPr>
          <p:nvPr/>
        </p:nvCxnSpPr>
        <p:spPr bwMode="auto">
          <a:xfrm flipH="1" flipV="1">
            <a:off x="5104601" y="4659166"/>
            <a:ext cx="4039404" cy="3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/>
          <p:nvPr/>
        </p:nvCxnSpPr>
        <p:spPr bwMode="auto">
          <a:xfrm>
            <a:off x="2" y="4659165"/>
            <a:ext cx="384016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Группа 3"/>
          <p:cNvGrpSpPr/>
          <p:nvPr/>
        </p:nvGrpSpPr>
        <p:grpSpPr>
          <a:xfrm>
            <a:off x="9181869" y="3"/>
            <a:ext cx="2781533" cy="5143499"/>
            <a:chOff x="9181867" y="1"/>
            <a:chExt cx="2781533" cy="514349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9181867" y="1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576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9256592" y="6832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9256592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9256592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9256592" y="3367556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9256592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9256592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9256592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9256592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9256592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9256592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9256594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9256594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9256594" y="3367559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9256594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9256594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56594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9256594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56594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56594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9" name="Прямая соединительная линия 8"/>
            <p:cNvCxnSpPr/>
            <p:nvPr/>
          </p:nvCxnSpPr>
          <p:spPr bwMode="auto">
            <a:xfrm>
              <a:off x="9753600" y="444500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6" name="TextBox 35"/>
          <p:cNvSpPr txBox="1"/>
          <p:nvPr/>
        </p:nvSpPr>
        <p:spPr>
          <a:xfrm>
            <a:off x="3819313" y="4520666"/>
            <a:ext cx="12852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accent1"/>
                </a:solidFill>
              </a:rPr>
              <a:t>ООО «СИБУР»</a:t>
            </a:r>
          </a:p>
        </p:txBody>
      </p:sp>
      <p:sp>
        <p:nvSpPr>
          <p:cNvPr id="3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58FCD8F3-C746-4DE4-8045-39CBABF7AD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566" y="796323"/>
            <a:ext cx="2694711" cy="3638650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487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1619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255588" y="998538"/>
            <a:ext cx="8650287" cy="3595687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91917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67202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55600" y="168897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255600" y="230411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255600" y="291925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255600" y="353439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255600" y="414953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C26854C-9590-4F77-A1DA-AD30F168CD3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35648" y="1001017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6C1560EF-8C42-46D3-A113-AED54EB909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35648" y="1617681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7ABE165-F729-425A-9522-F3ACCC449C7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35648" y="2234345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F9A3E6EC-E939-43BF-BEAA-BE9928A833D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35648" y="2851009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451A043-E6A6-452E-BB24-0D7E5BCFDF5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35648" y="3467673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627E7D48-BBF6-4E78-B5EB-487E2B77411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5648" y="4084337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97769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5665140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49963" y="0"/>
            <a:ext cx="3094037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C9C594E9-F98C-4ECD-BBE5-1A777FD07C4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3564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556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CBB7B1C5-0535-4FD0-9141-E4811B53E2B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3564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556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3989DD66-5540-48DC-A10A-5DDAB08B011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564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2556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292F8E39-E868-4536-A12D-FD1C3FBCA9C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564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556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BE6F9E0F-6B32-4528-B792-28DB2E17C00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3564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2556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A1A60B29-3714-4301-95B5-4828A8E2C17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3564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556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A6565569-AD3D-4D67-9D0D-713544D2377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3564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52833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выво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5227" y="1001016"/>
            <a:ext cx="2646774" cy="375228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55599" y="4755454"/>
            <a:ext cx="5989628" cy="332562"/>
          </a:xfrm>
        </p:spPr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1CE97842-6475-454B-98E4-01D23229437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3564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556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5B98125D-1849-4AF0-BE91-E7620FA2CD9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3564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556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68FBEC0-B9BA-476B-ABDD-7E71B00EE8E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564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2556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E29092CD-E822-4EDC-B8B6-0CD610BF5A3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564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556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17D889CD-8958-4384-9905-DA3BB80B463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3564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2556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9CFB8B23-03A2-49E8-B1D0-9DC2CBF3B7D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3564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556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1B760FD3-9F71-474E-8525-B92C26CC945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3564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93771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предпосыл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967120"/>
            <a:ext cx="2804795" cy="36921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C980792E-90B1-44B5-8002-FDCADECFF35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71854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5500CAD4-F3E7-4A42-9896-E4DE9E9D76B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1854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C1581854-5F88-478E-B1DF-C7C6B471439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71854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AAD4FB18-41A7-45E9-8170-51281C4A35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1854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728204F5-9978-458C-B886-0FE2D703C4C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71854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CD3562CE-A3F4-466B-A9D3-AC2175F868C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71854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5CE170A8-BA82-4FE4-ADC7-72FC991D905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71854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04609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фото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64020" y="204540"/>
            <a:ext cx="5527980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94037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36402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D1C6CFE-3B42-4E68-8F90-D16CA3CB581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84406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36402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0EC294AA-CA93-448B-8CDF-AABD8FA081A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84406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36402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181702C2-B12F-4EAE-994D-1092DDAA840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84406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36402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309921A7-5A7D-429D-98F8-5C3D0D68DF4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84406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36402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1CE4F2F3-D83C-44A2-ADA5-3A2B4310AC3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4406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36402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D755A123-151B-4050-A5F3-4A9019222E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84406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6402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1D5355F9-7F30-4BD3-9D56-6F134F19492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4406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68164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лев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85357" y="967120"/>
            <a:ext cx="4106643" cy="36921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204540"/>
            <a:ext cx="4106641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98473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прав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55601" y="967120"/>
            <a:ext cx="4106643" cy="36921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4106641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55600" y="4755454"/>
            <a:ext cx="4106641" cy="332562"/>
          </a:xfrm>
        </p:spPr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53954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331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- 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Прямая соединительная линия 12"/>
          <p:cNvCxnSpPr>
            <a:endCxn id="32" idx="3"/>
          </p:cNvCxnSpPr>
          <p:nvPr/>
        </p:nvCxnSpPr>
        <p:spPr bwMode="auto">
          <a:xfrm flipH="1" flipV="1">
            <a:off x="5764121" y="4656786"/>
            <a:ext cx="3369172" cy="1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>
            <a:endCxn id="32" idx="1"/>
          </p:cNvCxnSpPr>
          <p:nvPr/>
        </p:nvCxnSpPr>
        <p:spPr bwMode="auto">
          <a:xfrm flipV="1">
            <a:off x="-834" y="4656786"/>
            <a:ext cx="3819165" cy="1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Группа 3"/>
          <p:cNvGrpSpPr/>
          <p:nvPr/>
        </p:nvGrpSpPr>
        <p:grpSpPr>
          <a:xfrm>
            <a:off x="9220086" y="3"/>
            <a:ext cx="2781533" cy="5143499"/>
            <a:chOff x="9220084" y="1"/>
            <a:chExt cx="2781533" cy="514349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9220084" y="1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576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1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1" dirty="0">
                  <a:solidFill>
                    <a:schemeClr val="bg1"/>
                  </a:solidFill>
                </a:rPr>
              </a:br>
              <a:r>
                <a:rPr lang="ru-RU" sz="12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94809" y="6832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94809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94809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94809" y="3367556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94809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94809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94809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94809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9294809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94809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94811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94811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94811" y="3367559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94811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0" name="Прямоугольник 59"/>
            <p:cNvSpPr/>
            <p:nvPr/>
          </p:nvSpPr>
          <p:spPr>
            <a:xfrm>
              <a:off x="9294811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61" name="Прямоугольник 60"/>
            <p:cNvSpPr/>
            <p:nvPr/>
          </p:nvSpPr>
          <p:spPr>
            <a:xfrm>
              <a:off x="9294811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9294811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9294811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64" name="Прямоугольник 63"/>
            <p:cNvSpPr/>
            <p:nvPr/>
          </p:nvSpPr>
          <p:spPr>
            <a:xfrm>
              <a:off x="9294811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65" name="Прямая соединительная линия 64"/>
            <p:cNvCxnSpPr/>
            <p:nvPr/>
          </p:nvCxnSpPr>
          <p:spPr bwMode="auto">
            <a:xfrm>
              <a:off x="9791817" y="444500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2" name="TextBox 31"/>
          <p:cNvSpPr txBox="1"/>
          <p:nvPr/>
        </p:nvSpPr>
        <p:spPr>
          <a:xfrm>
            <a:off x="3818331" y="4518286"/>
            <a:ext cx="19457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accent1"/>
                </a:solidFill>
              </a:rPr>
              <a:t>ПАО «СИБУР Холдинг»</a:t>
            </a:r>
          </a:p>
        </p:txBody>
      </p:sp>
      <p:sp>
        <p:nvSpPr>
          <p:cNvPr id="34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5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502D23F4-C02D-4C1E-BE41-8B09B121FF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566" y="796323"/>
            <a:ext cx="2694711" cy="3638650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487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8612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255588" y="842963"/>
            <a:ext cx="4210050" cy="381635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/>
          </p:nvPr>
        </p:nvSpPr>
        <p:spPr>
          <a:xfrm>
            <a:off x="4681950" y="842963"/>
            <a:ext cx="4210050" cy="381635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654407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колонки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Текст 8"/>
          <p:cNvSpPr>
            <a:spLocks noGrp="1"/>
          </p:cNvSpPr>
          <p:nvPr>
            <p:ph type="body" sz="quarter" idx="22"/>
          </p:nvPr>
        </p:nvSpPr>
        <p:spPr>
          <a:xfrm>
            <a:off x="4667663" y="1352550"/>
            <a:ext cx="4224337" cy="3306763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21"/>
          </p:nvPr>
        </p:nvSpPr>
        <p:spPr>
          <a:xfrm>
            <a:off x="255588" y="1352550"/>
            <a:ext cx="4224337" cy="3306763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DC95F010-2C41-49B4-994C-8AE1F73A8DE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776C387D-3753-4B75-92C6-5D3702D4152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3185618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диаграммы и комментар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303588"/>
            <a:ext cx="4224338" cy="13557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55588" y="1363625"/>
            <a:ext cx="4224337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4667663" y="1363625"/>
            <a:ext cx="4224337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303588"/>
            <a:ext cx="4224338" cy="13557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996490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фото и комментар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10"/>
          <p:cNvSpPr>
            <a:spLocks noGrp="1"/>
          </p:cNvSpPr>
          <p:nvPr>
            <p:ph type="pic" sz="quarter" idx="17" hasCustomPrompt="1"/>
          </p:nvPr>
        </p:nvSpPr>
        <p:spPr>
          <a:xfrm>
            <a:off x="255588" y="1352475"/>
            <a:ext cx="4224337" cy="1686488"/>
          </a:xfr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4667663" y="1352475"/>
            <a:ext cx="4224337" cy="1686488"/>
          </a:xfr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148186"/>
            <a:ext cx="4224338" cy="1511127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148186"/>
            <a:ext cx="4224338" cy="1511127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9986228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50825" y="1152000"/>
            <a:ext cx="4224338" cy="153423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667663" y="1152000"/>
            <a:ext cx="4224338" cy="153423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175200"/>
            <a:ext cx="4224338" cy="148411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175200"/>
            <a:ext cx="4224338" cy="148411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26" hasCustomPrompt="1"/>
          </p:nvPr>
        </p:nvSpPr>
        <p:spPr>
          <a:xfrm>
            <a:off x="250825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7" hasCustomPrompt="1"/>
          </p:nvPr>
        </p:nvSpPr>
        <p:spPr>
          <a:xfrm>
            <a:off x="4663252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5923347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буллита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82218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1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55600" y="27895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4669200" y="82218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4669200" y="27895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4377472-2581-4B39-80AE-581E00F855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55588" y="316551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B92BB08-C89E-41B5-A110-42DDF113B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67663" y="316551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D5CA91E-9AC8-4158-AA35-A1935E3551E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55588" y="119816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5B00560-4053-45AA-85D0-1C55BA3D54D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67663" y="119816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29" hasCustomPrompt="1"/>
          </p:nvPr>
        </p:nvSpPr>
        <p:spPr>
          <a:xfrm>
            <a:off x="727200" y="818732"/>
            <a:ext cx="3752373" cy="379435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139627" y="818732"/>
            <a:ext cx="3752373" cy="379435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30" hasCustomPrompt="1"/>
          </p:nvPr>
        </p:nvSpPr>
        <p:spPr>
          <a:xfrm>
            <a:off x="722427" y="2779201"/>
            <a:ext cx="3752373" cy="384163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31" hasCustomPrompt="1"/>
          </p:nvPr>
        </p:nvSpPr>
        <p:spPr>
          <a:xfrm>
            <a:off x="5134854" y="2779201"/>
            <a:ext cx="3752373" cy="384163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3817250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2 столб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5ACD6DB4-4E35-4BB8-8994-407B920DEDB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1DB96461-00C9-4618-B085-BC875E29CDA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35648" y="100101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Рисунок 14">
            <a:extLst>
              <a:ext uri="{FF2B5EF4-FFF2-40B4-BE49-F238E27FC236}">
                <a16:creationId xmlns:a16="http://schemas.microsoft.com/office/drawing/2014/main" id="{4CE4A8B4-2328-4C2C-A1F8-423D7177476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556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B1AEF316-0FE1-4213-A402-302C31640C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35648" y="153635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Рисунок 14">
            <a:extLst>
              <a:ext uri="{FF2B5EF4-FFF2-40B4-BE49-F238E27FC236}">
                <a16:creationId xmlns:a16="http://schemas.microsoft.com/office/drawing/2014/main" id="{64CD6F6C-3BD6-4982-9A80-480DEEF6FE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2556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2E2D9583-6670-486A-A170-4B7E3AAD45D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35648" y="2075971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Рисунок 14">
            <a:extLst>
              <a:ext uri="{FF2B5EF4-FFF2-40B4-BE49-F238E27FC236}">
                <a16:creationId xmlns:a16="http://schemas.microsoft.com/office/drawing/2014/main" id="{B2679DE3-113C-45B0-9FBB-84C80D90A2FD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2556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DC34E2AE-DCD6-46D1-A1D1-59D43290768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35648" y="2615589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3" name="Рисунок 14">
            <a:extLst>
              <a:ext uri="{FF2B5EF4-FFF2-40B4-BE49-F238E27FC236}">
                <a16:creationId xmlns:a16="http://schemas.microsoft.com/office/drawing/2014/main" id="{95B65BCB-FAFB-4949-9DA5-6DD965EF5DD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556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DF6D2344-1F01-4E57-B29B-777B243901A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35648" y="315520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Рисунок 14">
            <a:extLst>
              <a:ext uri="{FF2B5EF4-FFF2-40B4-BE49-F238E27FC236}">
                <a16:creationId xmlns:a16="http://schemas.microsoft.com/office/drawing/2014/main" id="{B338637A-8816-44B7-BB19-C9702D023FB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2556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D970B49F-E8D0-42E9-906A-E1BE3761811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35648" y="3694825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Рисунок 14">
            <a:extLst>
              <a:ext uri="{FF2B5EF4-FFF2-40B4-BE49-F238E27FC236}">
                <a16:creationId xmlns:a16="http://schemas.microsoft.com/office/drawing/2014/main" id="{DEB00967-6AE4-4995-9A85-2356A9A4899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2556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A098F644-4A32-41C9-AB95-DC7B1A2CBBA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35648" y="423444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9" name="Рисунок 14">
            <a:extLst>
              <a:ext uri="{FF2B5EF4-FFF2-40B4-BE49-F238E27FC236}">
                <a16:creationId xmlns:a16="http://schemas.microsoft.com/office/drawing/2014/main" id="{52790202-17E3-482C-BBC7-0FDC08AA8D93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4821878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0596A83C-CB24-431E-B6CA-8EAEEF87F2B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301926" y="100101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1" name="Рисунок 14">
            <a:extLst>
              <a:ext uri="{FF2B5EF4-FFF2-40B4-BE49-F238E27FC236}">
                <a16:creationId xmlns:a16="http://schemas.microsoft.com/office/drawing/2014/main" id="{98CCCF76-0F0D-4468-B476-98F7E5F193DB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4821878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BA14B70F-4E5F-4E68-A232-DB29D948250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301926" y="153635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3" name="Рисунок 14">
            <a:extLst>
              <a:ext uri="{FF2B5EF4-FFF2-40B4-BE49-F238E27FC236}">
                <a16:creationId xmlns:a16="http://schemas.microsoft.com/office/drawing/2014/main" id="{B12EAE96-E1E7-4AEA-BE1F-929DC6D7DACD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4821878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A9563D9A-CED2-4ECA-8A37-BF67DAC51F4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5301926" y="2075971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5" name="Рисунок 14">
            <a:extLst>
              <a:ext uri="{FF2B5EF4-FFF2-40B4-BE49-F238E27FC236}">
                <a16:creationId xmlns:a16="http://schemas.microsoft.com/office/drawing/2014/main" id="{F9F1D5B1-7350-461F-BEC4-A02D9209AAC8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821878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0FB3655B-D02C-4974-B8BB-52053EF46FA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5301926" y="2615589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7" name="Рисунок 14">
            <a:extLst>
              <a:ext uri="{FF2B5EF4-FFF2-40B4-BE49-F238E27FC236}">
                <a16:creationId xmlns:a16="http://schemas.microsoft.com/office/drawing/2014/main" id="{DE3ECA66-605C-4EA2-80FD-5D3DD5A9751C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821878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EDA554DC-64B4-4829-893F-1BE738AADB2B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5301926" y="315520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9" name="Рисунок 14">
            <a:extLst>
              <a:ext uri="{FF2B5EF4-FFF2-40B4-BE49-F238E27FC236}">
                <a16:creationId xmlns:a16="http://schemas.microsoft.com/office/drawing/2014/main" id="{FC35F83D-02DD-4749-A458-B5EBA5DEC17D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821878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B76B11AD-817F-47DD-B055-F17D2333517A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5301926" y="3694825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1" name="Рисунок 14">
            <a:extLst>
              <a:ext uri="{FF2B5EF4-FFF2-40B4-BE49-F238E27FC236}">
                <a16:creationId xmlns:a16="http://schemas.microsoft.com/office/drawing/2014/main" id="{D6937FE5-2DC9-467B-B2CB-1E208EC03460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821878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30E2FE77-DADE-42E6-BD8F-386BE6C5C2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301926" y="423444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5976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низу + текст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55601" y="1324799"/>
            <a:ext cx="4247819" cy="170494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58377" y="1324800"/>
            <a:ext cx="4247819" cy="170494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50596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3124200"/>
            <a:ext cx="9144000" cy="20193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51663207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818733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2821762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818733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2821762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90249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178752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000181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1178752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3000181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51107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фоновое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 bwMode="auto">
          <a:xfrm>
            <a:off x="0" y="0"/>
            <a:ext cx="9144000" cy="5144400"/>
          </a:xfrm>
          <a:prstGeom prst="rect">
            <a:avLst/>
          </a:prstGeom>
          <a:gradFill>
            <a:gsLst>
              <a:gs pos="2020">
                <a:schemeClr val="accent1">
                  <a:alpha val="85000"/>
                </a:schemeClr>
              </a:gs>
              <a:gs pos="35000">
                <a:srgbClr val="008C95">
                  <a:alpha val="55000"/>
                </a:srgbClr>
              </a:gs>
              <a:gs pos="74000">
                <a:schemeClr val="accent1">
                  <a:alpha val="36000"/>
                </a:schemeClr>
              </a:gs>
              <a:gs pos="100000">
                <a:schemeClr val="accent1">
                  <a:alpha val="10000"/>
                </a:schemeClr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051130" y="1400495"/>
            <a:ext cx="7216570" cy="1441767"/>
          </a:xfrm>
          <a:effectLst/>
        </p:spPr>
        <p:txBody>
          <a:bodyPr>
            <a:normAutofit/>
          </a:bodyPr>
          <a:lstStyle>
            <a:lvl1pPr>
              <a:defRPr lang="ru-RU" sz="32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1050927" y="3149762"/>
            <a:ext cx="7216773" cy="792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1050926" y="4140804"/>
            <a:ext cx="7216773" cy="540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5" cstate="screen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533" y="361700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0271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2696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166925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26" hasCustomPrompt="1"/>
          </p:nvPr>
        </p:nvSpPr>
        <p:spPr>
          <a:xfrm>
            <a:off x="250825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7" hasCustomPrompt="1"/>
          </p:nvPr>
        </p:nvSpPr>
        <p:spPr>
          <a:xfrm>
            <a:off x="4663252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169954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1166925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3169954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09058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078824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низу + текст в три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205800" y="1267482"/>
            <a:ext cx="2750196" cy="185671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1267482"/>
            <a:ext cx="2750196" cy="185671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156000" y="1267482"/>
            <a:ext cx="2750196" cy="185671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50596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3124200"/>
            <a:ext cx="9144000" cy="20193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3185333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6115067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21064196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раздела + заголовки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1218109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1218109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588" y="843281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205799" y="843281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9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6156000" y="843281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1218109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1708984"/>
            <a:ext cx="2750196" cy="29492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1708984"/>
            <a:ext cx="2750196" cy="29492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1708984"/>
            <a:ext cx="2750196" cy="29492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266366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диаграммы с комментар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3300700"/>
            <a:ext cx="2775758" cy="135757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185333" y="3300700"/>
            <a:ext cx="2775758" cy="135757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14705" y="3300700"/>
            <a:ext cx="2775758" cy="135757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55589" y="1309689"/>
            <a:ext cx="2777171" cy="1897024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3185333" y="1309689"/>
            <a:ext cx="2777171" cy="1897024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3185333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3" name="Диаграмма 13"/>
          <p:cNvSpPr>
            <a:spLocks noGrp="1"/>
          </p:cNvSpPr>
          <p:nvPr>
            <p:ph type="chart" sz="quarter" idx="22" hasCustomPrompt="1"/>
          </p:nvPr>
        </p:nvSpPr>
        <p:spPr>
          <a:xfrm>
            <a:off x="6114705" y="1309689"/>
            <a:ext cx="2777171" cy="1897024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6115067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</p:spTree>
    <p:extLst>
      <p:ext uri="{BB962C8B-B14F-4D97-AF65-F5344CB8AC3E}">
        <p14:creationId xmlns:p14="http://schemas.microsoft.com/office/powerpoint/2010/main" val="287143524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sz="quarter" idx="19" hasCustomPrompt="1"/>
          </p:nvPr>
        </p:nvSpPr>
        <p:spPr>
          <a:xfrm>
            <a:off x="255588" y="1332000"/>
            <a:ext cx="2735262" cy="16272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Рисунок 12"/>
          <p:cNvSpPr>
            <a:spLocks noGrp="1"/>
          </p:cNvSpPr>
          <p:nvPr>
            <p:ph type="pic" sz="quarter" idx="20" hasCustomPrompt="1"/>
          </p:nvPr>
        </p:nvSpPr>
        <p:spPr>
          <a:xfrm>
            <a:off x="3206538" y="1332000"/>
            <a:ext cx="2735262" cy="16272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2"/>
          <p:cNvSpPr>
            <a:spLocks noGrp="1"/>
          </p:cNvSpPr>
          <p:nvPr>
            <p:ph type="pic" sz="quarter" idx="21" hasCustomPrompt="1"/>
          </p:nvPr>
        </p:nvSpPr>
        <p:spPr>
          <a:xfrm>
            <a:off x="6156738" y="1332000"/>
            <a:ext cx="2735262" cy="16272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2968184"/>
            <a:ext cx="2750196" cy="16900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2968184"/>
            <a:ext cx="2750196" cy="16900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2968184"/>
            <a:ext cx="2750196" cy="16900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84080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84080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840808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30164458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320072"/>
            <a:ext cx="2750196" cy="13982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205799" y="1320072"/>
            <a:ext cx="2750196" cy="13982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156000" y="1320072"/>
            <a:ext cx="2750196" cy="13982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3293109"/>
            <a:ext cx="2750196" cy="13651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3293109"/>
            <a:ext cx="2750196" cy="13651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3293109"/>
            <a:ext cx="2750196" cy="13651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2813388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205799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156000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55599" y="828762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21945550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буллитов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211896"/>
            <a:ext cx="2750196" cy="1506470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205799" y="1211896"/>
            <a:ext cx="2750196" cy="1506470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156000" y="1211896"/>
            <a:ext cx="2750196" cy="1506470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3187495"/>
            <a:ext cx="2750196" cy="1470782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3187495"/>
            <a:ext cx="2750196" cy="1470782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3187495"/>
            <a:ext cx="2750196" cy="1470782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2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82988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55600" y="280314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205800" y="82988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205800" y="280314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5" hasCustomPrompt="1"/>
          </p:nvPr>
        </p:nvSpPr>
        <p:spPr>
          <a:xfrm>
            <a:off x="6156000" y="82988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6" hasCustomPrompt="1"/>
          </p:nvPr>
        </p:nvSpPr>
        <p:spPr>
          <a:xfrm>
            <a:off x="6156000" y="280314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652199" y="2802874"/>
            <a:ext cx="2289600" cy="384622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602400" y="2802874"/>
            <a:ext cx="2289600" cy="384622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703761" y="2802874"/>
            <a:ext cx="2298639" cy="384622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7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3652199" y="828198"/>
            <a:ext cx="2289600" cy="38369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8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6602400" y="828198"/>
            <a:ext cx="2289600" cy="38369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9" name="Текст 2"/>
          <p:cNvSpPr>
            <a:spLocks noGrp="1"/>
          </p:cNvSpPr>
          <p:nvPr>
            <p:ph type="body" idx="41" hasCustomPrompt="1"/>
          </p:nvPr>
        </p:nvSpPr>
        <p:spPr>
          <a:xfrm>
            <a:off x="703761" y="828198"/>
            <a:ext cx="2298639" cy="38369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98647605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818733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2821762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3205799" y="818733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3205799" y="2821762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6"/>
          <p:cNvSpPr>
            <a:spLocks noGrp="1"/>
          </p:cNvSpPr>
          <p:nvPr>
            <p:ph sz="quarter" idx="38"/>
          </p:nvPr>
        </p:nvSpPr>
        <p:spPr>
          <a:xfrm>
            <a:off x="6156000" y="818733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6"/>
          <p:cNvSpPr>
            <a:spLocks noGrp="1"/>
          </p:cNvSpPr>
          <p:nvPr>
            <p:ph sz="quarter" idx="39"/>
          </p:nvPr>
        </p:nvSpPr>
        <p:spPr>
          <a:xfrm>
            <a:off x="6156000" y="2821762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62761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2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205799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156000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55599" y="828762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27751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01648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3205799" y="127751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3205799" y="301648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6156000" y="127751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6156000" y="301648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1294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итульный фоновое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34172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7670510" y="331723"/>
            <a:ext cx="1159938" cy="36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0" y="984813"/>
            <a:ext cx="5291667" cy="3241289"/>
          </a:xfrm>
          <a:prstGeom prst="rect">
            <a:avLst/>
          </a:prstGeom>
          <a:gradFill>
            <a:gsLst>
              <a:gs pos="2020">
                <a:schemeClr val="accent1">
                  <a:alpha val="85000"/>
                </a:schemeClr>
              </a:gs>
              <a:gs pos="35000">
                <a:srgbClr val="008C95">
                  <a:alpha val="77000"/>
                </a:srgbClr>
              </a:gs>
              <a:gs pos="74000">
                <a:schemeClr val="accent1">
                  <a:alpha val="68000"/>
                </a:schemeClr>
              </a:gs>
              <a:gs pos="100000">
                <a:schemeClr val="accent1">
                  <a:alpha val="50000"/>
                </a:schemeClr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2540" y="1210582"/>
            <a:ext cx="4645860" cy="1441767"/>
          </a:xfrm>
          <a:effectLst/>
        </p:spPr>
        <p:txBody>
          <a:bodyPr>
            <a:normAutofit/>
          </a:bodyPr>
          <a:lstStyle>
            <a:lvl1pPr>
              <a:defRPr lang="ru-RU" sz="28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32338" y="2737470"/>
            <a:ext cx="4645990" cy="792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32337" y="3614591"/>
            <a:ext cx="4645990" cy="540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820" y="428923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2064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2813388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205799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156000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55599" y="828762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277513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3205799" y="1277513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3205799" y="3280542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6156000" y="1277513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6156000" y="3280542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324883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743553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раздела + заголовки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400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200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588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462400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4669200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6875999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419509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диаграммы с комментар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55589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2461064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Диаграмма 13"/>
          <p:cNvSpPr>
            <a:spLocks noGrp="1"/>
          </p:cNvSpPr>
          <p:nvPr>
            <p:ph type="chart" sz="quarter" idx="22" hasCustomPrompt="1"/>
          </p:nvPr>
        </p:nvSpPr>
        <p:spPr>
          <a:xfrm>
            <a:off x="4666539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Диаграмма 13"/>
          <p:cNvSpPr>
            <a:spLocks noGrp="1"/>
          </p:cNvSpPr>
          <p:nvPr>
            <p:ph type="chart" sz="quarter" idx="25" hasCustomPrompt="1"/>
          </p:nvPr>
        </p:nvSpPr>
        <p:spPr>
          <a:xfrm>
            <a:off x="6872013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2">
            <a:extLst>
              <a:ext uri="{FF2B5EF4-FFF2-40B4-BE49-F238E27FC236}">
                <a16:creationId xmlns:a16="http://schemas.microsoft.com/office/drawing/2014/main" id="{156977D3-B49F-459C-8A95-0201776EC89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55599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01672133-F7F2-4D49-84AE-FB4BF84CCFBB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2462400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89913B83-2D6F-4502-B6BF-D6C17DA85AD9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4669200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FCCA6A8A-8972-4627-8588-AAA663EB57E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875999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65301233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400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200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2777276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фото +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7"/>
          </p:nvPr>
        </p:nvSpPr>
        <p:spPr>
          <a:xfrm>
            <a:off x="255701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18"/>
          </p:nvPr>
        </p:nvSpPr>
        <p:spPr>
          <a:xfrm>
            <a:off x="246654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3" name="Рисунок 10"/>
          <p:cNvSpPr>
            <a:spLocks noGrp="1"/>
          </p:cNvSpPr>
          <p:nvPr>
            <p:ph type="pic" sz="quarter" idx="19"/>
          </p:nvPr>
        </p:nvSpPr>
        <p:spPr>
          <a:xfrm>
            <a:off x="466920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20"/>
          </p:nvPr>
        </p:nvSpPr>
        <p:spPr>
          <a:xfrm>
            <a:off x="687610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9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41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42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7550458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4022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0797912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0740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Текст 2"/>
          <p:cNvSpPr>
            <a:spLocks noGrp="1"/>
          </p:cNvSpPr>
          <p:nvPr>
            <p:ph type="body" idx="47" hasCustomPrompt="1"/>
          </p:nvPr>
        </p:nvSpPr>
        <p:spPr>
          <a:xfrm>
            <a:off x="255599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5" name="Текст 2"/>
          <p:cNvSpPr>
            <a:spLocks noGrp="1"/>
          </p:cNvSpPr>
          <p:nvPr>
            <p:ph type="body" idx="48" hasCustomPrompt="1"/>
          </p:nvPr>
        </p:nvSpPr>
        <p:spPr>
          <a:xfrm>
            <a:off x="2462400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6" name="Текст 2"/>
          <p:cNvSpPr>
            <a:spLocks noGrp="1"/>
          </p:cNvSpPr>
          <p:nvPr>
            <p:ph type="body" idx="49" hasCustomPrompt="1"/>
          </p:nvPr>
        </p:nvSpPr>
        <p:spPr>
          <a:xfrm>
            <a:off x="4669200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7" name="Текст 2"/>
          <p:cNvSpPr>
            <a:spLocks noGrp="1"/>
          </p:cNvSpPr>
          <p:nvPr>
            <p:ph type="body" idx="50" hasCustomPrompt="1"/>
          </p:nvPr>
        </p:nvSpPr>
        <p:spPr>
          <a:xfrm>
            <a:off x="6875999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9601968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5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8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009405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3763212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5517019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00940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00940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3763212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3763212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5517019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5517019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53" hasCustomPrompt="1"/>
          </p:nvPr>
        </p:nvSpPr>
        <p:spPr>
          <a:xfrm>
            <a:off x="7270825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0" name="Текст 2"/>
          <p:cNvSpPr>
            <a:spLocks noGrp="1"/>
          </p:cNvSpPr>
          <p:nvPr>
            <p:ph type="body" idx="54" hasCustomPrompt="1"/>
          </p:nvPr>
        </p:nvSpPr>
        <p:spPr>
          <a:xfrm>
            <a:off x="255598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1" name="Текст 2"/>
          <p:cNvSpPr>
            <a:spLocks noGrp="1"/>
          </p:cNvSpPr>
          <p:nvPr>
            <p:ph type="body" idx="55" hasCustomPrompt="1"/>
          </p:nvPr>
        </p:nvSpPr>
        <p:spPr>
          <a:xfrm>
            <a:off x="2009405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2" name="Текст 2"/>
          <p:cNvSpPr>
            <a:spLocks noGrp="1"/>
          </p:cNvSpPr>
          <p:nvPr>
            <p:ph type="body" idx="56" hasCustomPrompt="1"/>
          </p:nvPr>
        </p:nvSpPr>
        <p:spPr>
          <a:xfrm>
            <a:off x="3763212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3" name="Текст 2"/>
          <p:cNvSpPr>
            <a:spLocks noGrp="1"/>
          </p:cNvSpPr>
          <p:nvPr>
            <p:ph type="body" idx="57" hasCustomPrompt="1"/>
          </p:nvPr>
        </p:nvSpPr>
        <p:spPr>
          <a:xfrm>
            <a:off x="5517019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4" name="Текст 2"/>
          <p:cNvSpPr>
            <a:spLocks noGrp="1"/>
          </p:cNvSpPr>
          <p:nvPr>
            <p:ph type="body" idx="58" hasCustomPrompt="1"/>
          </p:nvPr>
        </p:nvSpPr>
        <p:spPr>
          <a:xfrm>
            <a:off x="7270825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5" name="Content Placeholder 6"/>
          <p:cNvSpPr>
            <a:spLocks noGrp="1"/>
          </p:cNvSpPr>
          <p:nvPr>
            <p:ph sz="quarter" idx="59"/>
          </p:nvPr>
        </p:nvSpPr>
        <p:spPr>
          <a:xfrm>
            <a:off x="727317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6" name="Content Placeholder 6"/>
          <p:cNvSpPr>
            <a:spLocks noGrp="1"/>
          </p:cNvSpPr>
          <p:nvPr>
            <p:ph sz="quarter" idx="60"/>
          </p:nvPr>
        </p:nvSpPr>
        <p:spPr>
          <a:xfrm>
            <a:off x="727317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5086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итульный фоновое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935027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3869267" y="984813"/>
            <a:ext cx="5274733" cy="3241289"/>
          </a:xfrm>
          <a:prstGeom prst="rect">
            <a:avLst/>
          </a:prstGeom>
          <a:gradFill>
            <a:gsLst>
              <a:gs pos="2020">
                <a:schemeClr val="accent1">
                  <a:alpha val="85000"/>
                </a:schemeClr>
              </a:gs>
              <a:gs pos="35000">
                <a:srgbClr val="008C95">
                  <a:alpha val="77000"/>
                </a:srgbClr>
              </a:gs>
              <a:gs pos="74000">
                <a:schemeClr val="accent1">
                  <a:alpha val="68000"/>
                </a:schemeClr>
              </a:gs>
              <a:gs pos="100000">
                <a:schemeClr val="accent1">
                  <a:alpha val="50000"/>
                </a:schemeClr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123267" y="1210582"/>
            <a:ext cx="4761175" cy="1441767"/>
          </a:xfrm>
          <a:effectLst/>
        </p:spPr>
        <p:txBody>
          <a:bodyPr>
            <a:normAutofit/>
          </a:bodyPr>
          <a:lstStyle>
            <a:lvl1pPr>
              <a:defRPr lang="ru-RU" sz="28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23047" y="2737470"/>
            <a:ext cx="4761308" cy="792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123046" y="3614591"/>
            <a:ext cx="4761308" cy="540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31" name="Rectangle 30"/>
          <p:cNvSpPr/>
          <p:nvPr/>
        </p:nvSpPr>
        <p:spPr bwMode="auto">
          <a:xfrm>
            <a:off x="312248" y="331723"/>
            <a:ext cx="1114216" cy="36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188" y="428923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12955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6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170927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316295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461663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170927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170927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316295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316295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461663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461663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53" hasCustomPrompt="1"/>
          </p:nvPr>
        </p:nvSpPr>
        <p:spPr>
          <a:xfrm>
            <a:off x="607031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0" name="Текст 2"/>
          <p:cNvSpPr>
            <a:spLocks noGrp="1"/>
          </p:cNvSpPr>
          <p:nvPr>
            <p:ph type="body" idx="54" hasCustomPrompt="1"/>
          </p:nvPr>
        </p:nvSpPr>
        <p:spPr>
          <a:xfrm>
            <a:off x="25559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1" name="Текст 2"/>
          <p:cNvSpPr>
            <a:spLocks noGrp="1"/>
          </p:cNvSpPr>
          <p:nvPr>
            <p:ph type="body" idx="55" hasCustomPrompt="1"/>
          </p:nvPr>
        </p:nvSpPr>
        <p:spPr>
          <a:xfrm>
            <a:off x="170927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2" name="Текст 2"/>
          <p:cNvSpPr>
            <a:spLocks noGrp="1"/>
          </p:cNvSpPr>
          <p:nvPr>
            <p:ph type="body" idx="56" hasCustomPrompt="1"/>
          </p:nvPr>
        </p:nvSpPr>
        <p:spPr>
          <a:xfrm>
            <a:off x="316295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3" name="Текст 2"/>
          <p:cNvSpPr>
            <a:spLocks noGrp="1"/>
          </p:cNvSpPr>
          <p:nvPr>
            <p:ph type="body" idx="57" hasCustomPrompt="1"/>
          </p:nvPr>
        </p:nvSpPr>
        <p:spPr>
          <a:xfrm>
            <a:off x="461663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4" name="Текст 2"/>
          <p:cNvSpPr>
            <a:spLocks noGrp="1"/>
          </p:cNvSpPr>
          <p:nvPr>
            <p:ph type="body" idx="58" hasCustomPrompt="1"/>
          </p:nvPr>
        </p:nvSpPr>
        <p:spPr>
          <a:xfrm>
            <a:off x="607031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5" name="Content Placeholder 6"/>
          <p:cNvSpPr>
            <a:spLocks noGrp="1"/>
          </p:cNvSpPr>
          <p:nvPr>
            <p:ph sz="quarter" idx="59"/>
          </p:nvPr>
        </p:nvSpPr>
        <p:spPr>
          <a:xfrm>
            <a:off x="607031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6" name="Content Placeholder 6"/>
          <p:cNvSpPr>
            <a:spLocks noGrp="1"/>
          </p:cNvSpPr>
          <p:nvPr>
            <p:ph sz="quarter" idx="60"/>
          </p:nvPr>
        </p:nvSpPr>
        <p:spPr>
          <a:xfrm>
            <a:off x="607031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Текст 2"/>
          <p:cNvSpPr>
            <a:spLocks noGrp="1"/>
          </p:cNvSpPr>
          <p:nvPr>
            <p:ph type="body" idx="61" hasCustomPrompt="1"/>
          </p:nvPr>
        </p:nvSpPr>
        <p:spPr>
          <a:xfrm>
            <a:off x="7524000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5" name="Текст 2"/>
          <p:cNvSpPr>
            <a:spLocks noGrp="1"/>
          </p:cNvSpPr>
          <p:nvPr>
            <p:ph type="body" idx="62" hasCustomPrompt="1"/>
          </p:nvPr>
        </p:nvSpPr>
        <p:spPr>
          <a:xfrm>
            <a:off x="7524000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6" name="Content Placeholder 6"/>
          <p:cNvSpPr>
            <a:spLocks noGrp="1"/>
          </p:cNvSpPr>
          <p:nvPr>
            <p:ph sz="quarter" idx="63"/>
          </p:nvPr>
        </p:nvSpPr>
        <p:spPr>
          <a:xfrm>
            <a:off x="7524000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Content Placeholder 6"/>
          <p:cNvSpPr>
            <a:spLocks noGrp="1"/>
          </p:cNvSpPr>
          <p:nvPr>
            <p:ph sz="quarter" idx="64"/>
          </p:nvPr>
        </p:nvSpPr>
        <p:spPr>
          <a:xfrm>
            <a:off x="7524000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634749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194000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шага процес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3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1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</p:spTree>
    <p:extLst>
      <p:ext uri="{BB962C8B-B14F-4D97-AF65-F5344CB8AC3E}">
        <p14:creationId xmlns:p14="http://schemas.microsoft.com/office/powerpoint/2010/main" val="81537260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шагов процес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22333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1996236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3744793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493350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14" name="Текст 2"/>
          <p:cNvSpPr>
            <a:spLocks noGrp="1"/>
          </p:cNvSpPr>
          <p:nvPr>
            <p:ph type="body" idx="21" hasCustomPrompt="1"/>
          </p:nvPr>
        </p:nvSpPr>
        <p:spPr>
          <a:xfrm>
            <a:off x="7233987" y="828760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004157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5545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49335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70111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оцесс по кругу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sp>
        <p:nvSpPr>
          <p:cNvPr id="7" name="Арка 6"/>
          <p:cNvSpPr/>
          <p:nvPr/>
        </p:nvSpPr>
        <p:spPr bwMode="auto">
          <a:xfrm>
            <a:off x="3188465" y="1318908"/>
            <a:ext cx="2799399" cy="2799402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Арка 7"/>
          <p:cNvSpPr/>
          <p:nvPr/>
        </p:nvSpPr>
        <p:spPr bwMode="auto">
          <a:xfrm rot="5400000">
            <a:off x="3188463" y="1318910"/>
            <a:ext cx="2799402" cy="2799399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Арка 8"/>
          <p:cNvSpPr/>
          <p:nvPr/>
        </p:nvSpPr>
        <p:spPr bwMode="auto">
          <a:xfrm rot="10800000">
            <a:off x="3188465" y="1318908"/>
            <a:ext cx="2799399" cy="2799402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5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b="1">
              <a:latin typeface="Arial" charset="0"/>
            </a:endParaRPr>
          </a:p>
        </p:txBody>
      </p:sp>
      <p:sp>
        <p:nvSpPr>
          <p:cNvPr id="10" name="Арка 9"/>
          <p:cNvSpPr/>
          <p:nvPr/>
        </p:nvSpPr>
        <p:spPr bwMode="auto">
          <a:xfrm rot="16200000">
            <a:off x="3188463" y="1318910"/>
            <a:ext cx="2799402" cy="2799399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Нашивка 14"/>
          <p:cNvSpPr/>
          <p:nvPr/>
        </p:nvSpPr>
        <p:spPr bwMode="auto">
          <a:xfrm>
            <a:off x="4455098" y="1318908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Нашивка 15"/>
          <p:cNvSpPr/>
          <p:nvPr/>
        </p:nvSpPr>
        <p:spPr bwMode="auto">
          <a:xfrm rot="5400000">
            <a:off x="5663864" y="2516304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Нашивка 16"/>
          <p:cNvSpPr/>
          <p:nvPr/>
        </p:nvSpPr>
        <p:spPr bwMode="auto">
          <a:xfrm flipH="1">
            <a:off x="4482394" y="3722311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Нашивка 17"/>
          <p:cNvSpPr/>
          <p:nvPr/>
        </p:nvSpPr>
        <p:spPr bwMode="auto">
          <a:xfrm rot="16200000">
            <a:off x="3253640" y="2530437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3"/>
          </p:nvPr>
        </p:nvSpPr>
        <p:spPr>
          <a:xfrm>
            <a:off x="255588" y="1071831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19"/>
          <p:cNvSpPr>
            <a:spLocks noGrp="1"/>
          </p:cNvSpPr>
          <p:nvPr>
            <p:ph type="body" sz="quarter" idx="14"/>
          </p:nvPr>
        </p:nvSpPr>
        <p:spPr>
          <a:xfrm>
            <a:off x="255588" y="2839718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19"/>
          <p:cNvSpPr>
            <a:spLocks noGrp="1"/>
          </p:cNvSpPr>
          <p:nvPr>
            <p:ph type="body" sz="quarter" idx="15"/>
          </p:nvPr>
        </p:nvSpPr>
        <p:spPr>
          <a:xfrm>
            <a:off x="6191482" y="1071831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19"/>
          <p:cNvSpPr>
            <a:spLocks noGrp="1"/>
          </p:cNvSpPr>
          <p:nvPr>
            <p:ph type="body" sz="quarter" idx="16"/>
          </p:nvPr>
        </p:nvSpPr>
        <p:spPr>
          <a:xfrm>
            <a:off x="6191482" y="2839718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E97B8803-CFBE-46D2-94F3-1E13B37C26DB}"/>
              </a:ext>
            </a:extLst>
          </p:cNvPr>
          <p:cNvSpPr/>
          <p:nvPr/>
        </p:nvSpPr>
        <p:spPr bwMode="auto">
          <a:xfrm>
            <a:off x="2995684" y="1501255"/>
            <a:ext cx="630960" cy="173509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32EE881-8F18-4976-B14A-133BBEF93D70}"/>
              </a:ext>
            </a:extLst>
          </p:cNvPr>
          <p:cNvSpPr/>
          <p:nvPr/>
        </p:nvSpPr>
        <p:spPr bwMode="auto">
          <a:xfrm flipV="1">
            <a:off x="2995684" y="3782109"/>
            <a:ext cx="721056" cy="178463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85FFE1BE-F468-41E4-AC57-73F3A5F795C0}"/>
              </a:ext>
            </a:extLst>
          </p:cNvPr>
          <p:cNvSpPr/>
          <p:nvPr/>
        </p:nvSpPr>
        <p:spPr bwMode="auto">
          <a:xfrm flipH="1">
            <a:off x="5591864" y="1501255"/>
            <a:ext cx="591174" cy="213654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E57AF606-9A31-48E6-BA8D-C5D2AD7F0440}"/>
              </a:ext>
            </a:extLst>
          </p:cNvPr>
          <p:cNvSpPr/>
          <p:nvPr/>
        </p:nvSpPr>
        <p:spPr bwMode="auto">
          <a:xfrm flipH="1" flipV="1">
            <a:off x="5500048" y="3782111"/>
            <a:ext cx="682990" cy="178462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00804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оцесс по кругу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/>
          </a:p>
        </p:txBody>
      </p:sp>
      <p:grpSp>
        <p:nvGrpSpPr>
          <p:cNvPr id="6" name="Группа 5"/>
          <p:cNvGrpSpPr/>
          <p:nvPr/>
        </p:nvGrpSpPr>
        <p:grpSpPr>
          <a:xfrm rot="1829240">
            <a:off x="3303218" y="1554182"/>
            <a:ext cx="2637368" cy="2569106"/>
            <a:chOff x="62794" y="1435622"/>
            <a:chExt cx="2880788" cy="2806226"/>
          </a:xfrm>
        </p:grpSpPr>
        <p:sp>
          <p:nvSpPr>
            <p:cNvPr id="7" name="Арка 6"/>
            <p:cNvSpPr/>
            <p:nvPr/>
          </p:nvSpPr>
          <p:spPr bwMode="auto">
            <a:xfrm rot="16200000">
              <a:off x="96913" y="1442446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Арка 7"/>
            <p:cNvSpPr/>
            <p:nvPr/>
          </p:nvSpPr>
          <p:spPr bwMode="auto">
            <a:xfrm rot="-1800000">
              <a:off x="97612" y="1435622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Арка 8"/>
            <p:cNvSpPr/>
            <p:nvPr/>
          </p:nvSpPr>
          <p:spPr bwMode="auto">
            <a:xfrm rot="1800000">
              <a:off x="104438" y="1435622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0" name="Арка 9"/>
            <p:cNvSpPr/>
            <p:nvPr/>
          </p:nvSpPr>
          <p:spPr bwMode="auto">
            <a:xfrm rot="5400000">
              <a:off x="107411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Арка 10"/>
            <p:cNvSpPr/>
            <p:nvPr/>
          </p:nvSpPr>
          <p:spPr bwMode="auto">
            <a:xfrm rot="9000000">
              <a:off x="104437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Арка 11"/>
            <p:cNvSpPr/>
            <p:nvPr/>
          </p:nvSpPr>
          <p:spPr bwMode="auto">
            <a:xfrm rot="12600000">
              <a:off x="96912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Нашивка 26"/>
            <p:cNvSpPr/>
            <p:nvPr/>
          </p:nvSpPr>
          <p:spPr bwMode="auto">
            <a:xfrm rot="-1800000">
              <a:off x="736085" y="1578379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Нашивка 27"/>
            <p:cNvSpPr/>
            <p:nvPr/>
          </p:nvSpPr>
          <p:spPr bwMode="auto">
            <a:xfrm rot="1800000">
              <a:off x="1984852" y="1573617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Нашивка 28"/>
            <p:cNvSpPr/>
            <p:nvPr/>
          </p:nvSpPr>
          <p:spPr bwMode="auto">
            <a:xfrm rot="5400000">
              <a:off x="2619582" y="2644146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Нашивка 29"/>
            <p:cNvSpPr/>
            <p:nvPr/>
          </p:nvSpPr>
          <p:spPr bwMode="auto">
            <a:xfrm rot="9000000">
              <a:off x="1984852" y="3716435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7" name="Нашивка 30"/>
            <p:cNvSpPr/>
            <p:nvPr/>
          </p:nvSpPr>
          <p:spPr bwMode="auto">
            <a:xfrm rot="16200000">
              <a:off x="134794" y="2637322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8" name="Нашивка 31"/>
            <p:cNvSpPr/>
            <p:nvPr/>
          </p:nvSpPr>
          <p:spPr bwMode="auto">
            <a:xfrm rot="-9000000">
              <a:off x="763382" y="3707324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cxnSp>
        <p:nvCxnSpPr>
          <p:cNvPr id="20" name="Соединительная линия уступом 19"/>
          <p:cNvCxnSpPr>
            <a:endCxn id="38" idx="3"/>
          </p:cNvCxnSpPr>
          <p:nvPr/>
        </p:nvCxnSpPr>
        <p:spPr bwMode="auto">
          <a:xfrm rot="10800000" flipV="1">
            <a:off x="2558715" y="3655636"/>
            <a:ext cx="1130097" cy="465917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21" name="Соединительная линия уступом 20"/>
          <p:cNvCxnSpPr>
            <a:endCxn id="36" idx="3"/>
          </p:cNvCxnSpPr>
          <p:nvPr/>
        </p:nvCxnSpPr>
        <p:spPr bwMode="auto">
          <a:xfrm rot="10800000">
            <a:off x="2558714" y="1473326"/>
            <a:ext cx="1127608" cy="531002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36" name="Текст 35"/>
          <p:cNvSpPr>
            <a:spLocks noGrp="1"/>
          </p:cNvSpPr>
          <p:nvPr>
            <p:ph type="body" sz="quarter" idx="25"/>
          </p:nvPr>
        </p:nvSpPr>
        <p:spPr>
          <a:xfrm>
            <a:off x="255600" y="878807"/>
            <a:ext cx="2303114" cy="1189038"/>
          </a:xfrm>
        </p:spPr>
        <p:txBody>
          <a:bodyPr lIns="0" tIns="36000" rIns="72000" bIns="36000" anchor="ctr"/>
          <a:lstStyle>
            <a:lvl1pPr algn="r">
              <a:defRPr sz="1200"/>
            </a:lvl1pPr>
            <a:lvl2pPr algn="r">
              <a:defRPr sz="1100"/>
            </a:lvl2pPr>
            <a:lvl3pPr algn="r">
              <a:defRPr sz="900"/>
            </a:lvl3pPr>
            <a:lvl4pPr algn="r">
              <a:defRPr sz="900"/>
            </a:lvl4pPr>
            <a:lvl5pPr algn="r"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7" name="Текст 35"/>
          <p:cNvSpPr>
            <a:spLocks noGrp="1"/>
          </p:cNvSpPr>
          <p:nvPr>
            <p:ph type="body" sz="quarter" idx="26"/>
          </p:nvPr>
        </p:nvSpPr>
        <p:spPr>
          <a:xfrm>
            <a:off x="255600" y="2202921"/>
            <a:ext cx="2303114" cy="1189038"/>
          </a:xfrm>
        </p:spPr>
        <p:txBody>
          <a:bodyPr lIns="0" tIns="36000" rIns="72000" bIns="36000" anchor="ctr"/>
          <a:lstStyle>
            <a:lvl1pPr algn="r">
              <a:defRPr sz="1200"/>
            </a:lvl1pPr>
            <a:lvl2pPr algn="r">
              <a:defRPr sz="1100"/>
            </a:lvl2pPr>
            <a:lvl3pPr algn="r">
              <a:defRPr sz="900"/>
            </a:lvl3pPr>
            <a:lvl4pPr algn="r">
              <a:defRPr sz="900"/>
            </a:lvl4pPr>
            <a:lvl5pPr algn="r"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35"/>
          <p:cNvSpPr>
            <a:spLocks noGrp="1"/>
          </p:cNvSpPr>
          <p:nvPr>
            <p:ph type="body" sz="quarter" idx="27"/>
          </p:nvPr>
        </p:nvSpPr>
        <p:spPr>
          <a:xfrm>
            <a:off x="255600" y="3527035"/>
            <a:ext cx="2303114" cy="1189038"/>
          </a:xfrm>
        </p:spPr>
        <p:txBody>
          <a:bodyPr lIns="0" tIns="36000" rIns="72000" bIns="36000" anchor="ctr"/>
          <a:lstStyle>
            <a:lvl1pPr algn="r">
              <a:defRPr sz="1200"/>
            </a:lvl1pPr>
            <a:lvl2pPr algn="r">
              <a:defRPr sz="1100"/>
            </a:lvl2pPr>
            <a:lvl3pPr algn="r">
              <a:defRPr sz="900"/>
            </a:lvl3pPr>
            <a:lvl4pPr algn="r">
              <a:defRPr sz="900"/>
            </a:lvl4pPr>
            <a:lvl5pPr algn="r"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9" name="Текст 35"/>
          <p:cNvSpPr>
            <a:spLocks noGrp="1"/>
          </p:cNvSpPr>
          <p:nvPr>
            <p:ph type="body" sz="quarter" idx="28"/>
          </p:nvPr>
        </p:nvSpPr>
        <p:spPr>
          <a:xfrm>
            <a:off x="6558240" y="878807"/>
            <a:ext cx="2333760" cy="1189038"/>
          </a:xfrm>
        </p:spPr>
        <p:txBody>
          <a:bodyPr lIns="72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0" name="Текст 35"/>
          <p:cNvSpPr>
            <a:spLocks noGrp="1"/>
          </p:cNvSpPr>
          <p:nvPr>
            <p:ph type="body" sz="quarter" idx="29"/>
          </p:nvPr>
        </p:nvSpPr>
        <p:spPr>
          <a:xfrm>
            <a:off x="6558240" y="2202921"/>
            <a:ext cx="2333760" cy="1189038"/>
          </a:xfrm>
        </p:spPr>
        <p:txBody>
          <a:bodyPr lIns="72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35"/>
          <p:cNvSpPr>
            <a:spLocks noGrp="1"/>
          </p:cNvSpPr>
          <p:nvPr>
            <p:ph type="body" sz="quarter" idx="30"/>
          </p:nvPr>
        </p:nvSpPr>
        <p:spPr>
          <a:xfrm>
            <a:off x="6558240" y="3527035"/>
            <a:ext cx="2333760" cy="1189038"/>
          </a:xfrm>
        </p:spPr>
        <p:txBody>
          <a:bodyPr lIns="72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43" name="Соединительная линия уступом 42"/>
          <p:cNvCxnSpPr>
            <a:endCxn id="41" idx="1"/>
          </p:cNvCxnSpPr>
          <p:nvPr/>
        </p:nvCxnSpPr>
        <p:spPr bwMode="auto">
          <a:xfrm>
            <a:off x="5563760" y="3678753"/>
            <a:ext cx="994480" cy="442801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51" name="Соединительная линия уступом 50"/>
          <p:cNvCxnSpPr>
            <a:stCxn id="39" idx="1"/>
          </p:cNvCxnSpPr>
          <p:nvPr/>
        </p:nvCxnSpPr>
        <p:spPr bwMode="auto">
          <a:xfrm rot="10800000" flipV="1">
            <a:off x="5550968" y="1473326"/>
            <a:ext cx="1007272" cy="54029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>
            <a:cxnSpLocks/>
          </p:cNvCxnSpPr>
          <p:nvPr/>
        </p:nvCxnSpPr>
        <p:spPr bwMode="auto">
          <a:xfrm flipH="1">
            <a:off x="2587465" y="2797440"/>
            <a:ext cx="739105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52" name="Прямая соединительная линия 51"/>
          <p:cNvCxnSpPr>
            <a:cxnSpLocks/>
          </p:cNvCxnSpPr>
          <p:nvPr/>
        </p:nvCxnSpPr>
        <p:spPr bwMode="auto">
          <a:xfrm flipH="1">
            <a:off x="5911135" y="2797440"/>
            <a:ext cx="629001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23744865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80953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фото слев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Рисунок 13"/>
          <p:cNvSpPr>
            <a:spLocks noGrp="1"/>
          </p:cNvSpPr>
          <p:nvPr>
            <p:ph type="pic" sz="quarter" idx="15" hasCustomPrompt="1"/>
          </p:nvPr>
        </p:nvSpPr>
        <p:spPr>
          <a:xfrm>
            <a:off x="1" y="0"/>
            <a:ext cx="3566724" cy="5143500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1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487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9714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Рисунок 13"/>
          <p:cNvSpPr>
            <a:spLocks noGrp="1"/>
          </p:cNvSpPr>
          <p:nvPr>
            <p:ph type="pic" sz="quarter" idx="15" hasCustomPrompt="1"/>
          </p:nvPr>
        </p:nvSpPr>
        <p:spPr>
          <a:xfrm>
            <a:off x="5577276" y="0"/>
            <a:ext cx="3566724" cy="5143500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64485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2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64487" y="3895792"/>
            <a:ext cx="4960594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64485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051" y="35716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2395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фото внизу (рамка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393540" y="3094276"/>
            <a:ext cx="8414796" cy="1732369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02217" y="898072"/>
            <a:ext cx="8506117" cy="1298132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spcBef>
                <a:spcPts val="0"/>
              </a:spcBef>
              <a:defRPr kumimoji="0" lang="ru-RU" sz="3200" b="0" i="0" u="none" strike="noStrike" kern="1200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defTabSz="914395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dirty="0"/>
              <a:t>Название презентации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 bwMode="auto">
          <a:xfrm>
            <a:off x="393539" y="2278556"/>
            <a:ext cx="0" cy="6969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Прямая соединительная линия 38"/>
          <p:cNvCxnSpPr/>
          <p:nvPr/>
        </p:nvCxnSpPr>
        <p:spPr bwMode="auto">
          <a:xfrm>
            <a:off x="5203902" y="2278556"/>
            <a:ext cx="0" cy="6969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76184" y="2225922"/>
            <a:ext cx="4644059" cy="774322"/>
          </a:xfrm>
          <a:prstGeom prst="rect">
            <a:avLst/>
          </a:prstGeom>
        </p:spPr>
        <p:txBody>
          <a:bodyPr tIns="3600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287562" y="2225922"/>
            <a:ext cx="3520772" cy="774322"/>
          </a:xfrm>
          <a:prstGeom prst="rect">
            <a:avLst/>
          </a:prstGeom>
        </p:spPr>
        <p:txBody>
          <a:bodyPr tIns="36000"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998" y="366765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0042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oleObject" Target="../embeddings/oleObject12.bin"/><Relationship Id="rId5" Type="http://schemas.openxmlformats.org/officeDocument/2006/relationships/slideLayout" Target="../slideLayouts/slideLayout19.xml"/><Relationship Id="rId10" Type="http://schemas.openxmlformats.org/officeDocument/2006/relationships/tags" Target="../tags/tag21.xml"/><Relationship Id="rId4" Type="http://schemas.openxmlformats.org/officeDocument/2006/relationships/slideLayout" Target="../slideLayouts/slideLayout18.xml"/><Relationship Id="rId9" Type="http://schemas.openxmlformats.org/officeDocument/2006/relationships/tags" Target="../tags/tag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oleObject" Target="../embeddings/oleObject18.bin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ags" Target="../tags/tag30.xml"/><Relationship Id="rId5" Type="http://schemas.openxmlformats.org/officeDocument/2006/relationships/slideLayout" Target="../slideLayouts/slideLayout26.xml"/><Relationship Id="rId10" Type="http://schemas.openxmlformats.org/officeDocument/2006/relationships/tags" Target="../tags/tag29.xml"/><Relationship Id="rId4" Type="http://schemas.openxmlformats.org/officeDocument/2006/relationships/slideLayout" Target="../slideLayouts/slideLayout25.xml"/><Relationship Id="rId9" Type="http://schemas.openxmlformats.org/officeDocument/2006/relationships/theme" Target="../theme/theme3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theme" Target="../theme/theme4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1.xml"/><Relationship Id="rId16" Type="http://schemas.openxmlformats.org/officeDocument/2006/relationships/oleObject" Target="../embeddings/oleObject19.bin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tags" Target="../tags/tag32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tags" Target="../tags/tag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tags" Target="../tags/tag40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ags" Target="../tags/tag39.xml"/><Relationship Id="rId2" Type="http://schemas.openxmlformats.org/officeDocument/2006/relationships/slideLayout" Target="../slideLayouts/slideLayout4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oleObject" Target="../embeddings/oleObject23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ags" Target="../tags/tag49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tags" Target="../tags/tag48.xml"/><Relationship Id="rId2" Type="http://schemas.openxmlformats.org/officeDocument/2006/relationships/slideLayout" Target="../slideLayouts/slideLayout5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5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oleObject" Target="../embeddings/oleObject28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3" Type="http://schemas.openxmlformats.org/officeDocument/2006/relationships/slideLayout" Target="../slideLayouts/slideLayout64.xml"/><Relationship Id="rId7" Type="http://schemas.openxmlformats.org/officeDocument/2006/relationships/tags" Target="../tags/tag60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theme" Target="../theme/theme7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5.xml"/><Relationship Id="rId9" Type="http://schemas.openxmlformats.org/officeDocument/2006/relationships/oleObject" Target="../embeddings/oleObject3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802433045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8" imgW="270" imgH="270" progId="TCLayout.ActiveDocument.1">
                  <p:embed/>
                </p:oleObj>
              </mc:Choice>
              <mc:Fallback>
                <p:oleObj name="Слайд think-cell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4" r:id="rId1"/>
    <p:sldLayoutId id="2147484252" r:id="rId2"/>
    <p:sldLayoutId id="2147484225" r:id="rId3"/>
    <p:sldLayoutId id="2147484207" r:id="rId4"/>
    <p:sldLayoutId id="2147484290" r:id="rId5"/>
    <p:sldLayoutId id="2147484291" r:id="rId6"/>
    <p:sldLayoutId id="2147484205" r:id="rId7"/>
    <p:sldLayoutId id="2147484251" r:id="rId8"/>
    <p:sldLayoutId id="2147484206" r:id="rId9"/>
    <p:sldLayoutId id="2147484250" r:id="rId10"/>
    <p:sldLayoutId id="2147484228" r:id="rId11"/>
    <p:sldLayoutId id="2147484247" r:id="rId12"/>
    <p:sldLayoutId id="2147484245" r:id="rId13"/>
    <p:sldLayoutId id="2147484559" r:id="rId1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1" imgW="270" imgH="270" progId="TCLayout.ActiveDocument.1">
                  <p:embed/>
                </p:oleObj>
              </mc:Choice>
              <mc:Fallback>
                <p:oleObj name="Слайд think-cell" r:id="rId11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0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16752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6" r:id="rId1"/>
    <p:sldLayoutId id="2147484307" r:id="rId2"/>
    <p:sldLayoutId id="2147484534" r:id="rId3"/>
    <p:sldLayoutId id="2147484535" r:id="rId4"/>
    <p:sldLayoutId id="2147484536" r:id="rId5"/>
    <p:sldLayoutId id="2147484545" r:id="rId6"/>
    <p:sldLayoutId id="2147484560" r:id="rId7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866189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541" r:id="rId2"/>
    <p:sldLayoutId id="2147484542" r:id="rId3"/>
    <p:sldLayoutId id="2147484543" r:id="rId4"/>
    <p:sldLayoutId id="2147484544" r:id="rId5"/>
    <p:sldLayoutId id="2147484546" r:id="rId6"/>
    <p:sldLayoutId id="2147484547" r:id="rId7"/>
    <p:sldLayoutId id="2147484561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6" imgW="270" imgH="270" progId="TCLayout.ActiveDocument.1">
                  <p:embed/>
                </p:oleObj>
              </mc:Choice>
              <mc:Fallback>
                <p:oleObj name="Слайд think-cell" r:id="rId16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5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587872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5" r:id="rId1"/>
    <p:sldLayoutId id="2147484336" r:id="rId2"/>
    <p:sldLayoutId id="2147484337" r:id="rId3"/>
    <p:sldLayoutId id="2147484338" r:id="rId4"/>
    <p:sldLayoutId id="2147484339" r:id="rId5"/>
    <p:sldLayoutId id="2147484340" r:id="rId6"/>
    <p:sldLayoutId id="2147484346" r:id="rId7"/>
    <p:sldLayoutId id="2147484352" r:id="rId8"/>
    <p:sldLayoutId id="2147484549" r:id="rId9"/>
    <p:sldLayoutId id="2147484550" r:id="rId10"/>
    <p:sldLayoutId id="2147484548" r:id="rId11"/>
    <p:sldLayoutId id="2147484562" r:id="rId12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4" imgW="270" imgH="270" progId="TCLayout.ActiveDocument.1">
                  <p:embed/>
                </p:oleObj>
              </mc:Choice>
              <mc:Fallback>
                <p:oleObj name="Слайд think-cell" r:id="rId1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2007367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7" r:id="rId1"/>
    <p:sldLayoutId id="2147484388" r:id="rId2"/>
    <p:sldLayoutId id="2147484389" r:id="rId3"/>
    <p:sldLayoutId id="2147484390" r:id="rId4"/>
    <p:sldLayoutId id="2147484391" r:id="rId5"/>
    <p:sldLayoutId id="2147484392" r:id="rId6"/>
    <p:sldLayoutId id="2147484551" r:id="rId7"/>
    <p:sldLayoutId id="2147484552" r:id="rId8"/>
    <p:sldLayoutId id="2147484553" r:id="rId9"/>
    <p:sldLayoutId id="2147484563" r:id="rId10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4" imgW="270" imgH="270" progId="TCLayout.ActiveDocument.1">
                  <p:embed/>
                </p:oleObj>
              </mc:Choice>
              <mc:Fallback>
                <p:oleObj name="Слайд think-cell" r:id="rId1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306680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3" r:id="rId1"/>
    <p:sldLayoutId id="2147484434" r:id="rId2"/>
    <p:sldLayoutId id="2147484435" r:id="rId3"/>
    <p:sldLayoutId id="2147484436" r:id="rId4"/>
    <p:sldLayoutId id="2147484556" r:id="rId5"/>
    <p:sldLayoutId id="2147484555" r:id="rId6"/>
    <p:sldLayoutId id="2147484554" r:id="rId7"/>
    <p:sldLayoutId id="2147484557" r:id="rId8"/>
    <p:sldLayoutId id="2147484558" r:id="rId9"/>
    <p:sldLayoutId id="2147484564" r:id="rId10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9" imgW="270" imgH="270" progId="TCLayout.ActiveDocument.1">
                  <p:embed/>
                </p:oleObj>
              </mc:Choice>
              <mc:Fallback>
                <p:oleObj name="Слайд think-cell" r:id="rId9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8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193761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1" r:id="rId1"/>
    <p:sldLayoutId id="2147484482" r:id="rId2"/>
    <p:sldLayoutId id="2147484483" r:id="rId3"/>
    <p:sldLayoutId id="2147484484" r:id="rId4"/>
    <p:sldLayoutId id="2147484565" r:id="rId5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52.jpeg"/><Relationship Id="rId4" Type="http://schemas.openxmlformats.org/officeDocument/2006/relationships/image" Target="../media/image51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18.svg"/><Relationship Id="rId7" Type="http://schemas.openxmlformats.org/officeDocument/2006/relationships/image" Target="../media/image13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2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43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57.sv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6.png"/><Relationship Id="rId5" Type="http://schemas.openxmlformats.org/officeDocument/2006/relationships/image" Target="../media/image33.png"/><Relationship Id="rId4" Type="http://schemas.openxmlformats.org/officeDocument/2006/relationships/image" Target="../media/image51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58.gif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59.png"/><Relationship Id="rId4" Type="http://schemas.openxmlformats.org/officeDocument/2006/relationships/image" Target="../media/image51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7" Type="http://schemas.openxmlformats.org/officeDocument/2006/relationships/image" Target="../media/image62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59.png"/><Relationship Id="rId4" Type="http://schemas.openxmlformats.org/officeDocument/2006/relationships/image" Target="../media/image51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25.jpeg"/><Relationship Id="rId3" Type="http://schemas.openxmlformats.org/officeDocument/2006/relationships/image" Target="../media/image17.png"/><Relationship Id="rId7" Type="http://schemas.openxmlformats.org/officeDocument/2006/relationships/image" Target="../media/image14.png"/><Relationship Id="rId12" Type="http://schemas.openxmlformats.org/officeDocument/2006/relationships/image" Target="../media/image24.svg"/><Relationship Id="rId2" Type="http://schemas.openxmlformats.org/officeDocument/2006/relationships/image" Target="../media/image16.jpeg"/><Relationship Id="rId16" Type="http://schemas.openxmlformats.org/officeDocument/2006/relationships/image" Target="../media/image2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0.svg"/><Relationship Id="rId11" Type="http://schemas.openxmlformats.org/officeDocument/2006/relationships/image" Target="../media/image23.png"/><Relationship Id="rId5" Type="http://schemas.openxmlformats.org/officeDocument/2006/relationships/image" Target="../media/image19.png"/><Relationship Id="rId15" Type="http://schemas.openxmlformats.org/officeDocument/2006/relationships/image" Target="../media/image27.png"/><Relationship Id="rId10" Type="http://schemas.openxmlformats.org/officeDocument/2006/relationships/image" Target="../media/image22.svg"/><Relationship Id="rId4" Type="http://schemas.openxmlformats.org/officeDocument/2006/relationships/image" Target="../media/image18.svg"/><Relationship Id="rId9" Type="http://schemas.openxmlformats.org/officeDocument/2006/relationships/image" Target="../media/image21.png"/><Relationship Id="rId14" Type="http://schemas.openxmlformats.org/officeDocument/2006/relationships/image" Target="../media/image2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66.png"/><Relationship Id="rId4" Type="http://schemas.openxmlformats.org/officeDocument/2006/relationships/image" Target="../media/image5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59.png"/><Relationship Id="rId4" Type="http://schemas.openxmlformats.org/officeDocument/2006/relationships/image" Target="../media/image51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7" Type="http://schemas.openxmlformats.org/officeDocument/2006/relationships/image" Target="../media/image7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70.svg"/><Relationship Id="rId5" Type="http://schemas.openxmlformats.org/officeDocument/2006/relationships/image" Target="../media/image69.png"/><Relationship Id="rId4" Type="http://schemas.openxmlformats.org/officeDocument/2006/relationships/image" Target="../media/image59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59.png"/><Relationship Id="rId4" Type="http://schemas.openxmlformats.org/officeDocument/2006/relationships/image" Target="../media/image51.sv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51.svg"/><Relationship Id="rId7" Type="http://schemas.openxmlformats.org/officeDocument/2006/relationships/image" Target="../media/image76.sv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75.png"/><Relationship Id="rId5" Type="http://schemas.openxmlformats.org/officeDocument/2006/relationships/image" Target="../media/image71.png"/><Relationship Id="rId4" Type="http://schemas.openxmlformats.org/officeDocument/2006/relationships/image" Target="../media/image59.png"/><Relationship Id="rId9" Type="http://schemas.openxmlformats.org/officeDocument/2006/relationships/image" Target="../media/image78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59.png"/><Relationship Id="rId4" Type="http://schemas.openxmlformats.org/officeDocument/2006/relationships/image" Target="../media/image51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3.png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7" Type="http://schemas.openxmlformats.org/officeDocument/2006/relationships/image" Target="../media/image83.sv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5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59.png"/><Relationship Id="rId4" Type="http://schemas.openxmlformats.org/officeDocument/2006/relationships/image" Target="../media/image51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7" Type="http://schemas.openxmlformats.org/officeDocument/2006/relationships/image" Target="../media/image88.sv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7.png"/><Relationship Id="rId5" Type="http://schemas.openxmlformats.org/officeDocument/2006/relationships/image" Target="../media/image86.png"/><Relationship Id="rId4" Type="http://schemas.openxmlformats.org/officeDocument/2006/relationships/image" Target="../media/image59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0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7" Type="http://schemas.openxmlformats.org/officeDocument/2006/relationships/image" Target="../media/image15.sv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4.png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18.svg"/><Relationship Id="rId7" Type="http://schemas.openxmlformats.org/officeDocument/2006/relationships/image" Target="../media/image1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1.png"/><Relationship Id="rId5" Type="http://schemas.openxmlformats.org/officeDocument/2006/relationships/image" Target="../media/image15.svg"/><Relationship Id="rId10" Type="http://schemas.openxmlformats.org/officeDocument/2006/relationships/image" Target="../media/image43.svg"/><Relationship Id="rId4" Type="http://schemas.openxmlformats.org/officeDocument/2006/relationships/image" Target="../media/image14.png"/><Relationship Id="rId9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3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2024230-04E1-4030-8247-06C302F33DE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265" y="0"/>
            <a:ext cx="9144000" cy="5337384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B95FF99-2FE0-E6FE-9283-DCE55D62027A}"/>
              </a:ext>
            </a:extLst>
          </p:cNvPr>
          <p:cNvSpPr/>
          <p:nvPr/>
        </p:nvSpPr>
        <p:spPr bwMode="auto">
          <a:xfrm>
            <a:off x="0" y="0"/>
            <a:ext cx="9144000" cy="5351386"/>
          </a:xfrm>
          <a:prstGeom prst="rect">
            <a:avLst/>
          </a:prstGeom>
          <a:gradFill flip="none" rotWithShape="1">
            <a:gsLst>
              <a:gs pos="17000">
                <a:srgbClr val="00313C"/>
              </a:gs>
              <a:gs pos="80000">
                <a:srgbClr val="00313C">
                  <a:alpha val="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9E4BC831-533C-46F3-B8FC-EF77C46C95D4}"/>
              </a:ext>
            </a:extLst>
          </p:cNvPr>
          <p:cNvSpPr/>
          <p:nvPr/>
        </p:nvSpPr>
        <p:spPr bwMode="auto">
          <a:xfrm>
            <a:off x="-1" y="2119215"/>
            <a:ext cx="3972259" cy="753269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80F5D9"/>
              </a:gs>
              <a:gs pos="85000">
                <a:srgbClr val="008C95"/>
              </a:gs>
            </a:gsLst>
            <a:lin ang="27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08475" y="735013"/>
            <a:ext cx="5158651" cy="1231106"/>
          </a:xfrm>
        </p:spPr>
        <p:txBody>
          <a:bodyPr>
            <a:spAutoFit/>
          </a:bodyPr>
          <a:lstStyle/>
          <a:p>
            <a:r>
              <a:rPr lang="ru-RU" sz="4000" b="1" dirty="0">
                <a:solidFill>
                  <a:schemeClr val="bg1"/>
                </a:solidFill>
              </a:rPr>
              <a:t>Как не попасть </a:t>
            </a:r>
            <a:br>
              <a:rPr lang="ru-RU" sz="4000" b="1" dirty="0">
                <a:solidFill>
                  <a:schemeClr val="bg1"/>
                </a:solidFill>
              </a:rPr>
            </a:br>
            <a:r>
              <a:rPr lang="ru-RU" sz="4000" b="1" dirty="0">
                <a:solidFill>
                  <a:schemeClr val="bg1"/>
                </a:solidFill>
              </a:rPr>
              <a:t>в капканы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61C6E971-625F-4B15-8916-C0780F662C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071" y="3917704"/>
            <a:ext cx="3041884" cy="1017130"/>
          </a:xfrm>
          <a:prstGeom prst="rect">
            <a:avLst/>
          </a:prstGeom>
          <a:ln w="0">
            <a:noFill/>
          </a:ln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96F5D2D-065E-6A4E-33BC-DBC861ED2F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69002" y="-108265"/>
            <a:ext cx="6192811" cy="5143500"/>
          </a:xfrm>
          <a:prstGeom prst="rect">
            <a:avLst/>
          </a:prstGeom>
        </p:spPr>
      </p:pic>
      <p:sp>
        <p:nvSpPr>
          <p:cNvPr id="10" name="Заголовок 3">
            <a:extLst>
              <a:ext uri="{FF2B5EF4-FFF2-40B4-BE49-F238E27FC236}">
                <a16:creationId xmlns:a16="http://schemas.microsoft.com/office/drawing/2014/main" id="{F5DACE2F-149A-DFF3-DA25-D84F2854B670}"/>
              </a:ext>
            </a:extLst>
          </p:cNvPr>
          <p:cNvSpPr txBox="1">
            <a:spLocks/>
          </p:cNvSpPr>
          <p:nvPr/>
        </p:nvSpPr>
        <p:spPr>
          <a:xfrm>
            <a:off x="408475" y="2189551"/>
            <a:ext cx="5158651" cy="61555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4000" b="1" kern="0" dirty="0">
                <a:solidFill>
                  <a:schemeClr val="bg1"/>
                </a:solidFill>
              </a:rPr>
              <a:t>ВЫГОРАНИЯ</a:t>
            </a: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6C2A3F3F-CEA0-1103-A324-571D836734C9}"/>
              </a:ext>
            </a:extLst>
          </p:cNvPr>
          <p:cNvSpPr/>
          <p:nvPr/>
        </p:nvSpPr>
        <p:spPr bwMode="auto">
          <a:xfrm>
            <a:off x="431800" y="-342729"/>
            <a:ext cx="176648" cy="176648"/>
          </a:xfrm>
          <a:prstGeom prst="ellipse">
            <a:avLst/>
          </a:prstGeom>
          <a:solidFill>
            <a:srgbClr val="E04D3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67C14A19-EF40-2D8C-2D52-6D6C623AB47E}"/>
              </a:ext>
            </a:extLst>
          </p:cNvPr>
          <p:cNvSpPr/>
          <p:nvPr/>
        </p:nvSpPr>
        <p:spPr bwMode="auto">
          <a:xfrm>
            <a:off x="707103" y="-342729"/>
            <a:ext cx="176648" cy="176648"/>
          </a:xfrm>
          <a:prstGeom prst="ellipse">
            <a:avLst/>
          </a:prstGeom>
          <a:solidFill>
            <a:srgbClr val="E04D3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203F2EF9-B46B-B7F6-4162-6E45CD11A844}"/>
              </a:ext>
            </a:extLst>
          </p:cNvPr>
          <p:cNvSpPr/>
          <p:nvPr/>
        </p:nvSpPr>
        <p:spPr bwMode="auto">
          <a:xfrm>
            <a:off x="1002071" y="-342729"/>
            <a:ext cx="176648" cy="176648"/>
          </a:xfrm>
          <a:prstGeom prst="ellipse">
            <a:avLst/>
          </a:prstGeom>
          <a:solidFill>
            <a:srgbClr val="E04D3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F92DFC3-B95F-006C-8B98-AB87EB23475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1087263" y="4064814"/>
            <a:ext cx="458505" cy="458505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B1D85D1E-B2B3-0E72-8ECD-22B6C4D90D9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41540" y="4202113"/>
            <a:ext cx="457200" cy="457200"/>
          </a:xfrm>
          <a:prstGeom prst="rect">
            <a:avLst/>
          </a:prstGeom>
        </p:spPr>
      </p:pic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7B01D37A-92AC-8F75-81F6-1075BA7BEF57}"/>
              </a:ext>
            </a:extLst>
          </p:cNvPr>
          <p:cNvCxnSpPr>
            <a:cxnSpLocks/>
          </p:cNvCxnSpPr>
          <p:nvPr/>
        </p:nvCxnSpPr>
        <p:spPr bwMode="auto">
          <a:xfrm flipV="1">
            <a:off x="1090395" y="4202113"/>
            <a:ext cx="0" cy="4572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860521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: скругленные углы 2">
            <a:extLst>
              <a:ext uri="{FF2B5EF4-FFF2-40B4-BE49-F238E27FC236}">
                <a16:creationId xmlns:a16="http://schemas.microsoft.com/office/drawing/2014/main" id="{A4DAC845-4D2A-CE0B-769C-7E069E8E8870}"/>
              </a:ext>
            </a:extLst>
          </p:cNvPr>
          <p:cNvSpPr/>
          <p:nvPr/>
        </p:nvSpPr>
        <p:spPr bwMode="auto">
          <a:xfrm>
            <a:off x="-242594" y="-4935"/>
            <a:ext cx="6246352" cy="898328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B826ED-D15D-4F15-96E4-FEE28EC0F550}"/>
              </a:ext>
            </a:extLst>
          </p:cNvPr>
          <p:cNvSpPr txBox="1"/>
          <p:nvPr/>
        </p:nvSpPr>
        <p:spPr>
          <a:xfrm>
            <a:off x="431800" y="317348"/>
            <a:ext cx="1575249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</a:rPr>
              <a:t>Пример 2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937973C-C9E6-4A21-8A76-9EC36EBF7C73}"/>
              </a:ext>
            </a:extLst>
          </p:cNvPr>
          <p:cNvSpPr txBox="1"/>
          <p:nvPr/>
        </p:nvSpPr>
        <p:spPr>
          <a:xfrm>
            <a:off x="431800" y="1478606"/>
            <a:ext cx="3347184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000" b="1" dirty="0">
                <a:solidFill>
                  <a:srgbClr val="008C95"/>
                </a:solidFill>
              </a:rPr>
              <a:t>Психологический </a:t>
            </a:r>
            <a:br>
              <a:rPr lang="ru-RU" sz="2000" b="1" dirty="0">
                <a:solidFill>
                  <a:srgbClr val="008C95"/>
                </a:solidFill>
              </a:rPr>
            </a:br>
            <a:r>
              <a:rPr lang="ru-RU" sz="2000" b="1" dirty="0">
                <a:solidFill>
                  <a:srgbClr val="008C95"/>
                </a:solidFill>
              </a:rPr>
              <a:t>типаж:</a:t>
            </a:r>
            <a:endParaRPr lang="ru-RU" sz="2000" dirty="0">
              <a:solidFill>
                <a:srgbClr val="008C95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B9BBEA8-5F44-49BF-A2E5-18CDD205ADA9}"/>
              </a:ext>
            </a:extLst>
          </p:cNvPr>
          <p:cNvSpPr txBox="1"/>
          <p:nvPr/>
        </p:nvSpPr>
        <p:spPr>
          <a:xfrm>
            <a:off x="431800" y="3651919"/>
            <a:ext cx="1887655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000" b="1" dirty="0">
                <a:solidFill>
                  <a:srgbClr val="008C95"/>
                </a:solidFill>
              </a:rPr>
              <a:t>Качества:</a:t>
            </a:r>
            <a:endParaRPr lang="ru-RU" sz="2000" dirty="0">
              <a:solidFill>
                <a:srgbClr val="008C95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4B3CDAA-5719-40B7-99DC-923CA1C148A0}"/>
              </a:ext>
            </a:extLst>
          </p:cNvPr>
          <p:cNvSpPr txBox="1"/>
          <p:nvPr/>
        </p:nvSpPr>
        <p:spPr>
          <a:xfrm>
            <a:off x="3293731" y="1471452"/>
            <a:ext cx="2219674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000" b="1" dirty="0">
                <a:solidFill>
                  <a:srgbClr val="008C95"/>
                </a:solidFill>
              </a:rPr>
              <a:t>Симптомы выгорания:</a:t>
            </a:r>
            <a:endParaRPr lang="ru-RU" sz="2000" dirty="0">
              <a:solidFill>
                <a:srgbClr val="008C95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F34BDDA-E204-4898-99D3-45FCB9FF5DF1}"/>
              </a:ext>
            </a:extLst>
          </p:cNvPr>
          <p:cNvSpPr txBox="1"/>
          <p:nvPr/>
        </p:nvSpPr>
        <p:spPr>
          <a:xfrm>
            <a:off x="431801" y="2228353"/>
            <a:ext cx="2534684" cy="101566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285750" indent="-285750"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•"/>
              <a:defRPr sz="1400"/>
            </a:lvl1pPr>
          </a:lstStyle>
          <a:p>
            <a:r>
              <a:rPr lang="ru-RU" dirty="0">
                <a:solidFill>
                  <a:srgbClr val="00313C"/>
                </a:solidFill>
              </a:rPr>
              <a:t>Мыслитель</a:t>
            </a:r>
          </a:p>
          <a:p>
            <a:r>
              <a:rPr lang="ru-RU" dirty="0">
                <a:solidFill>
                  <a:srgbClr val="00313C"/>
                </a:solidFill>
              </a:rPr>
              <a:t>Аналитик и теоретик </a:t>
            </a:r>
          </a:p>
          <a:p>
            <a:r>
              <a:rPr lang="ru-RU" dirty="0" err="1">
                <a:solidFill>
                  <a:srgbClr val="00313C"/>
                </a:solidFill>
              </a:rPr>
              <a:t>Интравертированный</a:t>
            </a:r>
            <a:r>
              <a:rPr lang="ru-RU" dirty="0">
                <a:solidFill>
                  <a:srgbClr val="00313C"/>
                </a:solidFill>
              </a:rPr>
              <a:t> лидер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F259105-9317-481A-82A9-2F777EC6966F}"/>
              </a:ext>
            </a:extLst>
          </p:cNvPr>
          <p:cNvSpPr txBox="1"/>
          <p:nvPr/>
        </p:nvSpPr>
        <p:spPr>
          <a:xfrm>
            <a:off x="431799" y="4075212"/>
            <a:ext cx="2258237" cy="5078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285750" indent="-285750"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•"/>
              <a:defRPr sz="1400"/>
            </a:lvl1pPr>
          </a:lstStyle>
          <a:p>
            <a:r>
              <a:rPr lang="ru-RU" dirty="0">
                <a:solidFill>
                  <a:srgbClr val="00313C"/>
                </a:solidFill>
              </a:rPr>
              <a:t>Эксперт в своём деле </a:t>
            </a:r>
          </a:p>
          <a:p>
            <a:r>
              <a:rPr lang="ru-RU" dirty="0">
                <a:solidFill>
                  <a:srgbClr val="00313C"/>
                </a:solidFill>
              </a:rPr>
              <a:t>Не общителен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AEA3FED-7AC4-3D17-A880-8D42C84E94DB}"/>
              </a:ext>
            </a:extLst>
          </p:cNvPr>
          <p:cNvSpPr txBox="1"/>
          <p:nvPr/>
        </p:nvSpPr>
        <p:spPr>
          <a:xfrm>
            <a:off x="3321852" y="2225432"/>
            <a:ext cx="2463065" cy="18004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285750" indent="-285750"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•"/>
              <a:defRPr sz="1400"/>
            </a:lvl1pPr>
          </a:lstStyle>
          <a:p>
            <a:pPr marL="0" indent="0">
              <a:buNone/>
            </a:pPr>
            <a:r>
              <a:rPr lang="ru-RU" dirty="0">
                <a:solidFill>
                  <a:srgbClr val="00313C"/>
                </a:solidFill>
              </a:rPr>
              <a:t>«Прячется» от внешних </a:t>
            </a:r>
            <a:br>
              <a:rPr lang="ru-RU" dirty="0">
                <a:solidFill>
                  <a:srgbClr val="00313C"/>
                </a:solidFill>
              </a:rPr>
            </a:br>
            <a:r>
              <a:rPr lang="ru-RU" dirty="0">
                <a:solidFill>
                  <a:srgbClr val="00313C"/>
                </a:solidFill>
              </a:rPr>
              <a:t>и внутренних «приставал» </a:t>
            </a:r>
            <a:br>
              <a:rPr lang="ru-RU" dirty="0">
                <a:solidFill>
                  <a:srgbClr val="00313C"/>
                </a:solidFill>
              </a:rPr>
            </a:br>
            <a:r>
              <a:rPr lang="ru-RU" dirty="0">
                <a:solidFill>
                  <a:srgbClr val="00313C"/>
                </a:solidFill>
              </a:rPr>
              <a:t>в своём кабинете</a:t>
            </a:r>
            <a:br>
              <a:rPr lang="ru-RU" dirty="0">
                <a:solidFill>
                  <a:srgbClr val="00313C"/>
                </a:solidFill>
              </a:rPr>
            </a:br>
            <a:endParaRPr lang="ru-RU" dirty="0">
              <a:solidFill>
                <a:srgbClr val="00313C"/>
              </a:solidFill>
            </a:endParaRPr>
          </a:p>
          <a:p>
            <a:pPr marL="0" indent="0">
              <a:buNone/>
            </a:pPr>
            <a:br>
              <a:rPr lang="ru-RU" dirty="0">
                <a:solidFill>
                  <a:srgbClr val="00313C"/>
                </a:solidFill>
              </a:rPr>
            </a:br>
            <a:r>
              <a:rPr lang="ru-RU" dirty="0">
                <a:solidFill>
                  <a:srgbClr val="00313C"/>
                </a:solidFill>
              </a:rPr>
              <a:t>Придумывает сложные схемы и планы, </a:t>
            </a:r>
            <a:br>
              <a:rPr lang="ru-RU" dirty="0">
                <a:solidFill>
                  <a:srgbClr val="00313C"/>
                </a:solidFill>
              </a:rPr>
            </a:br>
            <a:r>
              <a:rPr lang="ru-RU" dirty="0">
                <a:solidFill>
                  <a:srgbClr val="00313C"/>
                </a:solidFill>
              </a:rPr>
              <a:t>оторванные от реальности</a:t>
            </a:r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9D7CE173-DC71-2F20-772C-7B3640D9FB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473" y="-608354"/>
            <a:ext cx="8636400" cy="5292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id="{0600BAAE-56C5-652D-A3DC-BD70DBA40847}"/>
              </a:ext>
            </a:extLst>
          </p:cNvPr>
          <p:cNvSpPr/>
          <p:nvPr/>
        </p:nvSpPr>
        <p:spPr bwMode="auto">
          <a:xfrm>
            <a:off x="5701011" y="3435751"/>
            <a:ext cx="1728000" cy="1728000"/>
          </a:xfrm>
          <a:prstGeom prst="roundRect">
            <a:avLst>
              <a:gd name="adj" fmla="val 0"/>
            </a:avLst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EE801A64-91D6-FC4F-E19B-31AC2F8D8B53}"/>
              </a:ext>
            </a:extLst>
          </p:cNvPr>
          <p:cNvCxnSpPr>
            <a:cxnSpLocks/>
          </p:cNvCxnSpPr>
          <p:nvPr/>
        </p:nvCxnSpPr>
        <p:spPr bwMode="auto">
          <a:xfrm flipV="1">
            <a:off x="3066405" y="1556458"/>
            <a:ext cx="0" cy="2403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BDC1EA5F-AA5A-347E-A9EC-A80C9006A58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392801" y="3018096"/>
            <a:ext cx="216000" cy="208829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DC1BA411-A670-FC8D-B8B3-4085F0CD85B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01011" y="-9130"/>
            <a:ext cx="3444881" cy="3444881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4EF56C3-A2C8-A74B-ADBC-5ECD230C278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 flipH="1">
            <a:off x="7416000" y="3435751"/>
            <a:ext cx="1728000" cy="1728000"/>
          </a:xfrm>
          <a:prstGeom prst="rect">
            <a:avLst/>
          </a:prstGeom>
        </p:spPr>
      </p:pic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D4C1F8AF-8C1D-45DA-6B08-67DC77FF408E}"/>
              </a:ext>
            </a:extLst>
          </p:cNvPr>
          <p:cNvCxnSpPr>
            <a:cxnSpLocks/>
          </p:cNvCxnSpPr>
          <p:nvPr/>
        </p:nvCxnSpPr>
        <p:spPr bwMode="auto">
          <a:xfrm flipV="1">
            <a:off x="3067414" y="1556458"/>
            <a:ext cx="0" cy="221449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5365789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: скругленные углы 2">
            <a:extLst>
              <a:ext uri="{FF2B5EF4-FFF2-40B4-BE49-F238E27FC236}">
                <a16:creationId xmlns:a16="http://schemas.microsoft.com/office/drawing/2014/main" id="{0032A277-1342-0505-20C0-561ED7C31FFF}"/>
              </a:ext>
            </a:extLst>
          </p:cNvPr>
          <p:cNvSpPr/>
          <p:nvPr/>
        </p:nvSpPr>
        <p:spPr bwMode="auto">
          <a:xfrm>
            <a:off x="-242594" y="-4935"/>
            <a:ext cx="6246352" cy="898328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AEA3FED-7AC4-3D17-A880-8D42C84E94DB}"/>
              </a:ext>
            </a:extLst>
          </p:cNvPr>
          <p:cNvSpPr txBox="1"/>
          <p:nvPr/>
        </p:nvSpPr>
        <p:spPr>
          <a:xfrm>
            <a:off x="3830149" y="2053798"/>
            <a:ext cx="2463065" cy="29700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285750" indent="-285750"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•"/>
              <a:defRPr sz="1400"/>
            </a:lvl1pPr>
          </a:lstStyle>
          <a:p>
            <a:pPr marL="0" indent="0">
              <a:buNone/>
            </a:pPr>
            <a:r>
              <a:rPr lang="ru-RU" dirty="0">
                <a:solidFill>
                  <a:srgbClr val="00313C"/>
                </a:solidFill>
              </a:rPr>
              <a:t>Пытается всем </a:t>
            </a:r>
            <a:br>
              <a:rPr lang="ru-RU" dirty="0">
                <a:solidFill>
                  <a:srgbClr val="00313C"/>
                </a:solidFill>
              </a:rPr>
            </a:br>
            <a:r>
              <a:rPr lang="ru-RU" dirty="0">
                <a:solidFill>
                  <a:srgbClr val="00313C"/>
                </a:solidFill>
              </a:rPr>
              <a:t>угодить </a:t>
            </a:r>
            <a:br>
              <a:rPr lang="ru-RU" dirty="0">
                <a:solidFill>
                  <a:srgbClr val="00313C"/>
                </a:solidFill>
              </a:rPr>
            </a:br>
            <a:r>
              <a:rPr lang="ru-RU" dirty="0">
                <a:solidFill>
                  <a:srgbClr val="00313C"/>
                </a:solidFill>
              </a:rPr>
              <a:t>и чувствует вину</a:t>
            </a:r>
          </a:p>
          <a:p>
            <a:pPr marL="0" indent="0">
              <a:buNone/>
            </a:pPr>
            <a:endParaRPr lang="ru-RU" dirty="0">
              <a:solidFill>
                <a:srgbClr val="00313C"/>
              </a:solidFill>
            </a:endParaRPr>
          </a:p>
          <a:p>
            <a:pPr marL="0" indent="0">
              <a:buNone/>
            </a:pPr>
            <a:r>
              <a:rPr lang="ru-RU" dirty="0">
                <a:solidFill>
                  <a:srgbClr val="00313C"/>
                </a:solidFill>
              </a:rPr>
              <a:t>Грызёт себя</a:t>
            </a:r>
          </a:p>
          <a:p>
            <a:pPr marL="0" indent="0">
              <a:buNone/>
            </a:pPr>
            <a:endParaRPr lang="ru-RU" dirty="0">
              <a:solidFill>
                <a:srgbClr val="00313C"/>
              </a:solidFill>
            </a:endParaRPr>
          </a:p>
          <a:p>
            <a:pPr marL="0" indent="0">
              <a:buNone/>
            </a:pPr>
            <a:r>
              <a:rPr lang="ru-RU" dirty="0">
                <a:solidFill>
                  <a:srgbClr val="00313C"/>
                </a:solidFill>
              </a:rPr>
              <a:t>Приобретает «букет» психосоматических симптомов </a:t>
            </a:r>
            <a:br>
              <a:rPr lang="ru-RU" dirty="0">
                <a:solidFill>
                  <a:srgbClr val="00313C"/>
                </a:solidFill>
              </a:rPr>
            </a:br>
            <a:r>
              <a:rPr lang="ru-RU" dirty="0">
                <a:solidFill>
                  <a:srgbClr val="00313C"/>
                </a:solidFill>
              </a:rPr>
              <a:t>и «отдыхает» </a:t>
            </a:r>
            <a:br>
              <a:rPr lang="ru-RU" dirty="0">
                <a:solidFill>
                  <a:srgbClr val="00313C"/>
                </a:solidFill>
              </a:rPr>
            </a:br>
            <a:r>
              <a:rPr lang="ru-RU" dirty="0">
                <a:solidFill>
                  <a:srgbClr val="00313C"/>
                </a:solidFill>
              </a:rPr>
              <a:t>на больничном</a:t>
            </a:r>
          </a:p>
          <a:p>
            <a:pPr marL="0" indent="0">
              <a:buNone/>
            </a:pPr>
            <a:endParaRPr lang="ru-RU" dirty="0">
              <a:solidFill>
                <a:srgbClr val="00313C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B826ED-D15D-4F15-96E4-FEE28EC0F550}"/>
              </a:ext>
            </a:extLst>
          </p:cNvPr>
          <p:cNvSpPr txBox="1"/>
          <p:nvPr/>
        </p:nvSpPr>
        <p:spPr>
          <a:xfrm>
            <a:off x="431800" y="317348"/>
            <a:ext cx="1575249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</a:rPr>
              <a:t>Пример 3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937973C-C9E6-4A21-8A76-9EC36EBF7C73}"/>
              </a:ext>
            </a:extLst>
          </p:cNvPr>
          <p:cNvSpPr txBox="1"/>
          <p:nvPr/>
        </p:nvSpPr>
        <p:spPr>
          <a:xfrm>
            <a:off x="431800" y="1306972"/>
            <a:ext cx="3347184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000" b="1" dirty="0">
                <a:solidFill>
                  <a:srgbClr val="008C95"/>
                </a:solidFill>
              </a:rPr>
              <a:t>Психологический </a:t>
            </a:r>
            <a:br>
              <a:rPr lang="ru-RU" sz="2000" b="1" dirty="0">
                <a:solidFill>
                  <a:srgbClr val="008C95"/>
                </a:solidFill>
              </a:rPr>
            </a:br>
            <a:r>
              <a:rPr lang="ru-RU" sz="2000" b="1" dirty="0">
                <a:solidFill>
                  <a:srgbClr val="008C95"/>
                </a:solidFill>
              </a:rPr>
              <a:t>типаж:</a:t>
            </a:r>
            <a:endParaRPr lang="ru-RU" sz="2000" dirty="0">
              <a:solidFill>
                <a:srgbClr val="008C95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B9BBEA8-5F44-49BF-A2E5-18CDD205ADA9}"/>
              </a:ext>
            </a:extLst>
          </p:cNvPr>
          <p:cNvSpPr txBox="1"/>
          <p:nvPr/>
        </p:nvSpPr>
        <p:spPr>
          <a:xfrm>
            <a:off x="431800" y="3296392"/>
            <a:ext cx="1887655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000" b="1" dirty="0">
                <a:solidFill>
                  <a:srgbClr val="008C95"/>
                </a:solidFill>
              </a:rPr>
              <a:t>Качества:</a:t>
            </a:r>
            <a:endParaRPr lang="ru-RU" sz="2000" dirty="0">
              <a:solidFill>
                <a:srgbClr val="008C95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4B3CDAA-5719-40B7-99DC-923CA1C148A0}"/>
              </a:ext>
            </a:extLst>
          </p:cNvPr>
          <p:cNvSpPr txBox="1"/>
          <p:nvPr/>
        </p:nvSpPr>
        <p:spPr>
          <a:xfrm>
            <a:off x="3802028" y="1299818"/>
            <a:ext cx="2219674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000" b="1" dirty="0">
                <a:solidFill>
                  <a:srgbClr val="008C95"/>
                </a:solidFill>
              </a:rPr>
              <a:t>Симптомы выгорания:</a:t>
            </a:r>
            <a:endParaRPr lang="ru-RU" sz="2000" dirty="0">
              <a:solidFill>
                <a:srgbClr val="008C95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F34BDDA-E204-4898-99D3-45FCB9FF5DF1}"/>
              </a:ext>
            </a:extLst>
          </p:cNvPr>
          <p:cNvSpPr txBox="1"/>
          <p:nvPr/>
        </p:nvSpPr>
        <p:spPr>
          <a:xfrm>
            <a:off x="431801" y="1968885"/>
            <a:ext cx="2534684" cy="101566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285750" indent="-285750"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•"/>
              <a:defRPr sz="1400"/>
            </a:lvl1pPr>
          </a:lstStyle>
          <a:p>
            <a:r>
              <a:rPr lang="ru-RU" dirty="0">
                <a:solidFill>
                  <a:srgbClr val="00313C"/>
                </a:solidFill>
              </a:rPr>
              <a:t>Способная и очень требовательная к себе </a:t>
            </a:r>
          </a:p>
          <a:p>
            <a:r>
              <a:rPr lang="ru-RU" dirty="0">
                <a:solidFill>
                  <a:srgbClr val="00313C"/>
                </a:solidFill>
              </a:rPr>
              <a:t>Ответственная </a:t>
            </a:r>
          </a:p>
          <a:p>
            <a:r>
              <a:rPr lang="ru-RU" dirty="0">
                <a:solidFill>
                  <a:srgbClr val="00313C"/>
                </a:solidFill>
              </a:rPr>
              <a:t>Совестливая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F259105-9317-481A-82A9-2F777EC6966F}"/>
              </a:ext>
            </a:extLst>
          </p:cNvPr>
          <p:cNvSpPr txBox="1"/>
          <p:nvPr/>
        </p:nvSpPr>
        <p:spPr>
          <a:xfrm>
            <a:off x="431799" y="3650529"/>
            <a:ext cx="3225801" cy="93871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285750" indent="-285750"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•"/>
              <a:defRPr sz="1400"/>
            </a:lvl1pPr>
          </a:lstStyle>
          <a:p>
            <a:r>
              <a:rPr lang="ru-RU" dirty="0">
                <a:solidFill>
                  <a:srgbClr val="00313C"/>
                </a:solidFill>
              </a:rPr>
              <a:t>Ответственный руководитель </a:t>
            </a:r>
            <a:br>
              <a:rPr lang="ru-RU" dirty="0">
                <a:solidFill>
                  <a:srgbClr val="00313C"/>
                </a:solidFill>
              </a:rPr>
            </a:br>
            <a:r>
              <a:rPr lang="ru-RU" dirty="0">
                <a:solidFill>
                  <a:srgbClr val="00313C"/>
                </a:solidFill>
              </a:rPr>
              <a:t>и идеальный исполнитель </a:t>
            </a:r>
          </a:p>
          <a:p>
            <a:r>
              <a:rPr lang="ru-RU" dirty="0">
                <a:solidFill>
                  <a:srgbClr val="00313C"/>
                </a:solidFill>
              </a:rPr>
              <a:t>Сочетает интересы бизнеса </a:t>
            </a:r>
            <a:br>
              <a:rPr lang="ru-RU" dirty="0">
                <a:solidFill>
                  <a:srgbClr val="00313C"/>
                </a:solidFill>
              </a:rPr>
            </a:br>
            <a:r>
              <a:rPr lang="ru-RU" dirty="0">
                <a:solidFill>
                  <a:srgbClr val="00313C"/>
                </a:solidFill>
              </a:rPr>
              <a:t>с потребностями «простых» людей</a:t>
            </a:r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9D7CE173-DC71-2F20-772C-7B3640D9FB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473" y="-608354"/>
            <a:ext cx="8636400" cy="5292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id="{0600BAAE-56C5-652D-A3DC-BD70DBA40847}"/>
              </a:ext>
            </a:extLst>
          </p:cNvPr>
          <p:cNvSpPr/>
          <p:nvPr/>
        </p:nvSpPr>
        <p:spPr bwMode="auto">
          <a:xfrm>
            <a:off x="5686330" y="3386551"/>
            <a:ext cx="1792516" cy="1792516"/>
          </a:xfrm>
          <a:prstGeom prst="roundRect">
            <a:avLst>
              <a:gd name="adj" fmla="val 0"/>
            </a:avLst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EE801A64-91D6-FC4F-E19B-31AC2F8D8B53}"/>
              </a:ext>
            </a:extLst>
          </p:cNvPr>
          <p:cNvCxnSpPr>
            <a:cxnSpLocks/>
          </p:cNvCxnSpPr>
          <p:nvPr/>
        </p:nvCxnSpPr>
        <p:spPr bwMode="auto">
          <a:xfrm flipV="1">
            <a:off x="3574702" y="1384824"/>
            <a:ext cx="0" cy="285420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BDC1EA5F-AA5A-347E-A9EC-A80C9006A58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917882" y="3345152"/>
            <a:ext cx="216000" cy="208828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24ECF09-2465-7235-6C51-B62894F06C8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16000" y="3421129"/>
            <a:ext cx="1728000" cy="1728000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238FF97A-2340-B463-4B7C-BDCA3654335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917882" y="2784380"/>
            <a:ext cx="216000" cy="208828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DED8F3ED-9FB9-0526-4CFF-70E30032344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84660" y="-15911"/>
            <a:ext cx="3459340" cy="3459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6304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4602" y="69653"/>
            <a:ext cx="6462320" cy="4627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1043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C0560DD-58D5-8534-8418-77C3545EB3E1}"/>
              </a:ext>
            </a:extLst>
          </p:cNvPr>
          <p:cNvSpPr txBox="1">
            <a:spLocks/>
          </p:cNvSpPr>
          <p:nvPr/>
        </p:nvSpPr>
        <p:spPr>
          <a:xfrm>
            <a:off x="4572000" y="1588957"/>
            <a:ext cx="5162986" cy="92333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ru-RU"/>
            </a:defPPr>
            <a:lvl1pPr defTabSz="914400" fontAlgn="base">
              <a:spcBef>
                <a:spcPct val="0"/>
              </a:spcBef>
              <a:spcAft>
                <a:spcPct val="0"/>
              </a:spcAft>
              <a:defRPr sz="2000" kern="0">
                <a:solidFill>
                  <a:srgbClr val="00313C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dirty="0"/>
              <a:t>Как вы думаете, какие капканы, </a:t>
            </a:r>
            <a:br>
              <a:rPr lang="ru-RU" dirty="0"/>
            </a:br>
            <a:r>
              <a:rPr lang="ru-RU" dirty="0"/>
              <a:t>западни, ловушки </a:t>
            </a:r>
            <a:r>
              <a:rPr lang="ru-RU"/>
              <a:t>могут приводить</a:t>
            </a:r>
            <a:endParaRPr lang="ru-RU" dirty="0"/>
          </a:p>
          <a:p>
            <a:r>
              <a:rPr lang="ru-RU" dirty="0"/>
              <a:t>к профессиональному выгоранию?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58BABB9-754E-CB74-85E8-DBF7A0DE2AF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39100" y="3696642"/>
            <a:ext cx="1104900" cy="11049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BB06AC4-A3E7-FA13-8907-925350D90E1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34200" y="3696642"/>
            <a:ext cx="1104900" cy="11049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8C8644C-C1E3-84BA-26E0-AA428362621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29300" y="3701926"/>
            <a:ext cx="1105200" cy="1105200"/>
          </a:xfrm>
          <a:prstGeom prst="rect">
            <a:avLst/>
          </a:prstGeom>
        </p:spPr>
      </p:pic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6C8ADF91-2B61-95A3-B272-51D7017B3FD0}"/>
              </a:ext>
            </a:extLst>
          </p:cNvPr>
          <p:cNvSpPr/>
          <p:nvPr/>
        </p:nvSpPr>
        <p:spPr bwMode="auto">
          <a:xfrm rot="10800000">
            <a:off x="0" y="1"/>
            <a:ext cx="4071938" cy="5164834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B50D7C57-1268-4420-5353-7777843CD073}"/>
              </a:ext>
            </a:extLst>
          </p:cNvPr>
          <p:cNvSpPr txBox="1">
            <a:spLocks/>
          </p:cNvSpPr>
          <p:nvPr/>
        </p:nvSpPr>
        <p:spPr>
          <a:xfrm>
            <a:off x="814832" y="1524859"/>
            <a:ext cx="3257106" cy="50169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4000" b="1" kern="0" dirty="0">
                <a:solidFill>
                  <a:schemeClr val="bg1"/>
                </a:solidFill>
              </a:rPr>
              <a:t>ВОПРОС:</a:t>
            </a:r>
            <a:br>
              <a:rPr lang="ru-RU" sz="4000" b="1" kern="0" dirty="0">
                <a:solidFill>
                  <a:schemeClr val="bg1"/>
                </a:solidFill>
              </a:rPr>
            </a:br>
            <a:endParaRPr lang="ru-RU" sz="4000" b="1" kern="0" dirty="0">
              <a:solidFill>
                <a:schemeClr val="bg1"/>
              </a:solidFill>
            </a:endParaRPr>
          </a:p>
        </p:txBody>
      </p:sp>
      <p:pic>
        <p:nvPicPr>
          <p:cNvPr id="11" name="Рисунок 10" descr="Вопросительный знак со сплошной заливкой">
            <a:extLst>
              <a:ext uri="{FF2B5EF4-FFF2-40B4-BE49-F238E27FC236}">
                <a16:creationId xmlns:a16="http://schemas.microsoft.com/office/drawing/2014/main" id="{F3D33B95-21E3-0C21-0AAA-6E0DE6E5D8D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410986" y="2541844"/>
            <a:ext cx="1203626" cy="1203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5643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5EA6450-5A29-B7F7-FAB8-3BEF23EEDB1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32" r="1"/>
          <a:stretch/>
        </p:blipFill>
        <p:spPr>
          <a:xfrm flipH="1">
            <a:off x="328890" y="1326044"/>
            <a:ext cx="4572004" cy="3817456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EEFE989-DA5A-D711-F622-A18C5B7A4A06}"/>
              </a:ext>
            </a:extLst>
          </p:cNvPr>
          <p:cNvSpPr/>
          <p:nvPr/>
        </p:nvSpPr>
        <p:spPr bwMode="auto">
          <a:xfrm>
            <a:off x="0" y="869624"/>
            <a:ext cx="4572001" cy="4273876"/>
          </a:xfrm>
          <a:prstGeom prst="rect">
            <a:avLst/>
          </a:prstGeom>
          <a:gradFill flip="none" rotWithShape="1">
            <a:gsLst>
              <a:gs pos="17000">
                <a:srgbClr val="00313C"/>
              </a:gs>
              <a:gs pos="80000">
                <a:srgbClr val="00313C">
                  <a:alpha val="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BE235D7-0EF5-B927-E7EC-79A9120CE2D4}"/>
              </a:ext>
            </a:extLst>
          </p:cNvPr>
          <p:cNvSpPr txBox="1">
            <a:spLocks/>
          </p:cNvSpPr>
          <p:nvPr/>
        </p:nvSpPr>
        <p:spPr>
          <a:xfrm>
            <a:off x="5966542" y="1292423"/>
            <a:ext cx="3177458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>
                <a:srgbClr val="99CC00"/>
              </a:buClr>
              <a:buSzTx/>
              <a:buFontTx/>
              <a:buNone/>
              <a:tabLst/>
              <a:defRPr/>
            </a:pPr>
            <a:r>
              <a:rPr lang="ru-RU" sz="2000" kern="0" dirty="0">
                <a:solidFill>
                  <a:srgbClr val="00313C"/>
                </a:solidFill>
              </a:rPr>
              <a:t>Отрицание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FF72C5D1-8074-10E4-0208-E2BCE438B0B9}"/>
              </a:ext>
            </a:extLst>
          </p:cNvPr>
          <p:cNvSpPr txBox="1">
            <a:spLocks/>
          </p:cNvSpPr>
          <p:nvPr/>
        </p:nvSpPr>
        <p:spPr>
          <a:xfrm>
            <a:off x="5637649" y="4263826"/>
            <a:ext cx="2481012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ts val="0"/>
              </a:spcBef>
            </a:pPr>
            <a:r>
              <a:rPr lang="ru-RU" sz="1400" kern="0" dirty="0">
                <a:solidFill>
                  <a:srgbClr val="00313C"/>
                </a:solidFill>
              </a:rPr>
              <a:t>А теперь давайте поговорим про каждый из них:</a:t>
            </a: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F9F719A0-A13A-E35A-1AA8-BC68882C680F}"/>
              </a:ext>
            </a:extLst>
          </p:cNvPr>
          <p:cNvSpPr txBox="1">
            <a:spLocks/>
          </p:cNvSpPr>
          <p:nvPr/>
        </p:nvSpPr>
        <p:spPr>
          <a:xfrm>
            <a:off x="5966542" y="1754230"/>
            <a:ext cx="4216617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>
                <a:srgbClr val="99CC00"/>
              </a:buClr>
              <a:buSzTx/>
              <a:buFontTx/>
              <a:buNone/>
              <a:tabLst/>
              <a:defRPr/>
            </a:pPr>
            <a:r>
              <a:rPr lang="ru-RU" sz="2000" kern="0" dirty="0">
                <a:solidFill>
                  <a:srgbClr val="00313C"/>
                </a:solidFill>
              </a:rPr>
              <a:t>Текучка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EAF4BD50-17CF-229A-8BE7-EF97FCB3FEE8}"/>
              </a:ext>
            </a:extLst>
          </p:cNvPr>
          <p:cNvSpPr txBox="1">
            <a:spLocks/>
          </p:cNvSpPr>
          <p:nvPr/>
        </p:nvSpPr>
        <p:spPr>
          <a:xfrm>
            <a:off x="5966542" y="2216037"/>
            <a:ext cx="4216619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>
                <a:srgbClr val="99CC00"/>
              </a:buClr>
              <a:buSzTx/>
              <a:buFontTx/>
              <a:buNone/>
              <a:tabLst/>
              <a:defRPr/>
            </a:pPr>
            <a:r>
              <a:rPr lang="ru-RU" sz="2000" kern="0" dirty="0">
                <a:solidFill>
                  <a:srgbClr val="00313C"/>
                </a:solidFill>
              </a:rPr>
              <a:t>Запрет на отдых</a:t>
            </a: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46FF2727-3C86-E572-DB59-128CC333B1A4}"/>
              </a:ext>
            </a:extLst>
          </p:cNvPr>
          <p:cNvSpPr txBox="1">
            <a:spLocks/>
          </p:cNvSpPr>
          <p:nvPr/>
        </p:nvSpPr>
        <p:spPr>
          <a:xfrm>
            <a:off x="5966542" y="2677844"/>
            <a:ext cx="3177460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>
                <a:srgbClr val="99CC00"/>
              </a:buClr>
              <a:buSzTx/>
              <a:buFontTx/>
              <a:buNone/>
              <a:tabLst/>
              <a:defRPr/>
            </a:pPr>
            <a:r>
              <a:rPr lang="ru-RU" sz="2000" kern="0" dirty="0">
                <a:solidFill>
                  <a:srgbClr val="00313C"/>
                </a:solidFill>
              </a:rPr>
              <a:t>Конфликты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1EB55A7F-577B-4E5C-CF40-A6CE3F7E32A8}"/>
              </a:ext>
            </a:extLst>
          </p:cNvPr>
          <p:cNvSpPr txBox="1">
            <a:spLocks/>
          </p:cNvSpPr>
          <p:nvPr/>
        </p:nvSpPr>
        <p:spPr>
          <a:xfrm>
            <a:off x="5966542" y="3139651"/>
            <a:ext cx="3374719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>
                <a:srgbClr val="99CC00"/>
              </a:buClr>
              <a:buSzTx/>
              <a:buFontTx/>
              <a:buNone/>
              <a:tabLst/>
              <a:defRPr/>
            </a:pPr>
            <a:r>
              <a:rPr lang="ru-RU" sz="2000" kern="0" dirty="0">
                <a:solidFill>
                  <a:srgbClr val="00313C"/>
                </a:solidFill>
              </a:rPr>
              <a:t>Одиночество 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D7FC843F-87E6-CA65-D519-F188398A4577}"/>
              </a:ext>
            </a:extLst>
          </p:cNvPr>
          <p:cNvCxnSpPr>
            <a:cxnSpLocks/>
          </p:cNvCxnSpPr>
          <p:nvPr/>
        </p:nvCxnSpPr>
        <p:spPr bwMode="auto">
          <a:xfrm>
            <a:off x="5056862" y="-234854"/>
            <a:ext cx="237087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Прямоугольник: скругленные углы 2">
            <a:extLst>
              <a:ext uri="{FF2B5EF4-FFF2-40B4-BE49-F238E27FC236}">
                <a16:creationId xmlns:a16="http://schemas.microsoft.com/office/drawing/2014/main" id="{FF07176F-E389-83D8-6788-DD4D61C06E0C}"/>
              </a:ext>
            </a:extLst>
          </p:cNvPr>
          <p:cNvSpPr/>
          <p:nvPr/>
        </p:nvSpPr>
        <p:spPr bwMode="auto">
          <a:xfrm>
            <a:off x="-2" y="0"/>
            <a:ext cx="4900896" cy="1335500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422247D0-4992-2728-04D5-7F304E9C65FA}"/>
              </a:ext>
            </a:extLst>
          </p:cNvPr>
          <p:cNvSpPr txBox="1">
            <a:spLocks/>
          </p:cNvSpPr>
          <p:nvPr/>
        </p:nvSpPr>
        <p:spPr>
          <a:xfrm>
            <a:off x="440719" y="328819"/>
            <a:ext cx="4216617" cy="61555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ts val="0"/>
              </a:spcBef>
            </a:pPr>
            <a:r>
              <a:rPr lang="ru-RU" sz="2000" b="1" kern="0" dirty="0">
                <a:solidFill>
                  <a:schemeClr val="bg1"/>
                </a:solidFill>
              </a:rPr>
              <a:t>Капканы, </a:t>
            </a:r>
            <a:br>
              <a:rPr lang="ru-RU" sz="2000" b="1" kern="0" dirty="0">
                <a:solidFill>
                  <a:schemeClr val="bg1"/>
                </a:solidFill>
              </a:rPr>
            </a:br>
            <a:r>
              <a:rPr lang="ru-RU" sz="2000" b="1" kern="0" dirty="0">
                <a:solidFill>
                  <a:schemeClr val="bg1"/>
                </a:solidFill>
              </a:rPr>
              <a:t>ПРИВОДЯЩИЕ К ВЫГОРАНИЮ</a:t>
            </a: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FBE235D7-0EF5-B927-E7EC-79A9120CE2D4}"/>
              </a:ext>
            </a:extLst>
          </p:cNvPr>
          <p:cNvSpPr txBox="1">
            <a:spLocks/>
          </p:cNvSpPr>
          <p:nvPr/>
        </p:nvSpPr>
        <p:spPr>
          <a:xfrm>
            <a:off x="5966542" y="3601460"/>
            <a:ext cx="3177458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>
                <a:srgbClr val="99CC00"/>
              </a:buClr>
              <a:buSzTx/>
              <a:buFontTx/>
              <a:buNone/>
              <a:tabLst/>
              <a:defRPr/>
            </a:pPr>
            <a:r>
              <a:rPr lang="ru-RU" sz="2000" kern="0" dirty="0">
                <a:solidFill>
                  <a:srgbClr val="00313C"/>
                </a:solidFill>
              </a:rPr>
              <a:t>Реакция на критику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5BA2EE5-102C-DADE-8DFE-6F02D7E83923}"/>
              </a:ext>
            </a:extLst>
          </p:cNvPr>
          <p:cNvSpPr txBox="1">
            <a:spLocks/>
          </p:cNvSpPr>
          <p:nvPr/>
        </p:nvSpPr>
        <p:spPr>
          <a:xfrm>
            <a:off x="440719" y="4384440"/>
            <a:ext cx="4216617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ts val="0"/>
              </a:spcBef>
            </a:pPr>
            <a:r>
              <a:rPr lang="ru-RU" sz="2000" b="1" kern="0" dirty="0">
                <a:solidFill>
                  <a:schemeClr val="bg1"/>
                </a:solidFill>
              </a:rPr>
              <a:t>Практическая часть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25B5BB90-5579-82BB-756A-BA630B97247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7649" y="1345133"/>
            <a:ext cx="209304" cy="20235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35D6EC53-8219-AE34-99BF-1D3F0820A0D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7649" y="1800899"/>
            <a:ext cx="209304" cy="202355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C58A89BE-7057-6D55-9E0D-CE047F21A45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7649" y="2279130"/>
            <a:ext cx="209304" cy="20235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E19EE52B-D714-026B-FEE9-17C3F062ED4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7649" y="2734896"/>
            <a:ext cx="209304" cy="20235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E135C16C-9E9B-48BB-2717-A390CFF03A5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7649" y="3200510"/>
            <a:ext cx="209304" cy="202355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00020438-47B2-E6D6-917D-D6B7CFE3E5E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7649" y="3656276"/>
            <a:ext cx="209304" cy="20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2240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: скругленные углы 8">
            <a:extLst>
              <a:ext uri="{FF2B5EF4-FFF2-40B4-BE49-F238E27FC236}">
                <a16:creationId xmlns:a16="http://schemas.microsoft.com/office/drawing/2014/main" id="{F4886E82-FEEC-846C-03FD-9C29541D1895}"/>
              </a:ext>
            </a:extLst>
          </p:cNvPr>
          <p:cNvSpPr/>
          <p:nvPr/>
        </p:nvSpPr>
        <p:spPr bwMode="auto">
          <a:xfrm flipH="1">
            <a:off x="-2" y="-9453"/>
            <a:ext cx="9144001" cy="1237833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/>
          </a:p>
        </p:txBody>
      </p:sp>
      <p:pic>
        <p:nvPicPr>
          <p:cNvPr id="1028" name="Picture 4" descr="Горит лампа &quot;низкий уровень топлива&quot;: опасно ли ездить на автомобиле, когда  мало бензина">
            <a:extLst>
              <a:ext uri="{FF2B5EF4-FFF2-40B4-BE49-F238E27FC236}">
                <a16:creationId xmlns:a16="http://schemas.microsoft.com/office/drawing/2014/main" id="{556B34B6-EB21-A694-FA10-CED8FECEFD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36119" y="3161113"/>
            <a:ext cx="1485250" cy="1502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F57EF316-E6F1-4956-830F-3B78652A55AD}"/>
              </a:ext>
            </a:extLst>
          </p:cNvPr>
          <p:cNvSpPr txBox="1">
            <a:spLocks/>
          </p:cNvSpPr>
          <p:nvPr/>
        </p:nvSpPr>
        <p:spPr>
          <a:xfrm>
            <a:off x="431799" y="208986"/>
            <a:ext cx="4728029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b="1" kern="0" dirty="0">
                <a:solidFill>
                  <a:schemeClr val="bg1"/>
                </a:solidFill>
              </a:rPr>
              <a:t>Капкан </a:t>
            </a:r>
            <a:r>
              <a:rPr lang="ru-RU" sz="3200" b="1" kern="0" dirty="0">
                <a:solidFill>
                  <a:schemeClr val="bg1"/>
                </a:solidFill>
              </a:rPr>
              <a:t>«ОТРИЦАНИЯ» 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82E89CB-5C42-4CF7-8A92-D72F68A89020}"/>
              </a:ext>
            </a:extLst>
          </p:cNvPr>
          <p:cNvSpPr txBox="1">
            <a:spLocks/>
          </p:cNvSpPr>
          <p:nvPr/>
        </p:nvSpPr>
        <p:spPr>
          <a:xfrm>
            <a:off x="5625227" y="3604774"/>
            <a:ext cx="2990139" cy="107721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defTabSz="914400" fontAlgn="base">
              <a:spcBef>
                <a:spcPct val="0"/>
              </a:spcBef>
              <a:spcAft>
                <a:spcPct val="0"/>
              </a:spcAft>
              <a:defRPr sz="1400" kern="0">
                <a:solidFill>
                  <a:srgbClr val="00313C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pPr>
              <a:spcAft>
                <a:spcPts val="1000"/>
              </a:spcAft>
            </a:pPr>
            <a:r>
              <a:rPr lang="ru-RU" dirty="0"/>
              <a:t>Не замечаю собственную усталость, отгоняю от себя мысли, что это для меня проблема. Коллеги это замечают, но я отрицаю их замечания и помощь</a:t>
            </a: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4E9D7BA-7B7D-443A-9C80-68F4F3E76B31}"/>
              </a:ext>
            </a:extLst>
          </p:cNvPr>
          <p:cNvSpPr txBox="1">
            <a:spLocks/>
          </p:cNvSpPr>
          <p:nvPr/>
        </p:nvSpPr>
        <p:spPr>
          <a:xfrm>
            <a:off x="429910" y="2166443"/>
            <a:ext cx="2215839" cy="861774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1400" kern="0" dirty="0">
                <a:solidFill>
                  <a:srgbClr val="00313C"/>
                </a:solidFill>
              </a:rPr>
              <a:t>Загорелась лампочка, </a:t>
            </a:r>
            <a:br>
              <a:rPr lang="ru-RU" sz="1400" kern="0" dirty="0">
                <a:solidFill>
                  <a:srgbClr val="00313C"/>
                </a:solidFill>
              </a:rPr>
            </a:br>
            <a:r>
              <a:rPr lang="ru-RU" sz="1400" kern="0" dirty="0">
                <a:solidFill>
                  <a:srgbClr val="00313C"/>
                </a:solidFill>
              </a:rPr>
              <a:t>но я не замечаю </a:t>
            </a:r>
            <a:br>
              <a:rPr lang="ru-RU" sz="1400" kern="0" dirty="0">
                <a:solidFill>
                  <a:srgbClr val="00313C"/>
                </a:solidFill>
              </a:rPr>
            </a:br>
            <a:r>
              <a:rPr lang="ru-RU" sz="1400" kern="0" dirty="0">
                <a:solidFill>
                  <a:srgbClr val="00313C"/>
                </a:solidFill>
              </a:rPr>
              <a:t>и продолжаю движение вперед 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225CEADB-03D3-4264-B445-812A0B3E65CD}"/>
              </a:ext>
            </a:extLst>
          </p:cNvPr>
          <p:cNvSpPr txBox="1">
            <a:spLocks/>
          </p:cNvSpPr>
          <p:nvPr/>
        </p:nvSpPr>
        <p:spPr>
          <a:xfrm>
            <a:off x="2986967" y="2163087"/>
            <a:ext cx="1900769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1400" kern="0" dirty="0">
                <a:solidFill>
                  <a:srgbClr val="00313C"/>
                </a:solidFill>
              </a:rPr>
              <a:t>Ресурс на исходе, </a:t>
            </a:r>
            <a:br>
              <a:rPr lang="ru-RU" sz="1400" kern="0" dirty="0">
                <a:solidFill>
                  <a:srgbClr val="00313C"/>
                </a:solidFill>
              </a:rPr>
            </a:br>
            <a:r>
              <a:rPr lang="ru-RU" sz="1400" kern="0" dirty="0">
                <a:solidFill>
                  <a:srgbClr val="00313C"/>
                </a:solidFill>
              </a:rPr>
              <a:t>но я продолжаю ехать</a:t>
            </a:r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06BA79B7-1F84-4C26-9028-496C91A27EDE}"/>
              </a:ext>
            </a:extLst>
          </p:cNvPr>
          <p:cNvSpPr txBox="1">
            <a:spLocks/>
          </p:cNvSpPr>
          <p:nvPr/>
        </p:nvSpPr>
        <p:spPr>
          <a:xfrm>
            <a:off x="3004164" y="2719076"/>
            <a:ext cx="2380191" cy="129266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1400" kern="0" dirty="0">
                <a:solidFill>
                  <a:srgbClr val="00313C"/>
                </a:solidFill>
              </a:rPr>
              <a:t>Работаю больше, пока </a:t>
            </a:r>
            <a:br>
              <a:rPr lang="ru-RU" sz="1400" kern="0" dirty="0">
                <a:solidFill>
                  <a:srgbClr val="00313C"/>
                </a:solidFill>
              </a:rPr>
            </a:br>
            <a:r>
              <a:rPr lang="ru-RU" sz="1400" kern="0" dirty="0">
                <a:solidFill>
                  <a:srgbClr val="00313C"/>
                </a:solidFill>
              </a:rPr>
              <a:t>не наступает опустошение. Давлю на газ, выжимаю максимальную скорость, пока топливо совсем </a:t>
            </a:r>
            <a:br>
              <a:rPr lang="ru-RU" sz="1400" kern="0" dirty="0">
                <a:solidFill>
                  <a:srgbClr val="00313C"/>
                </a:solidFill>
              </a:rPr>
            </a:br>
            <a:r>
              <a:rPr lang="ru-RU" sz="1400" kern="0" dirty="0">
                <a:solidFill>
                  <a:srgbClr val="00313C"/>
                </a:solidFill>
              </a:rPr>
              <a:t>не закончится</a:t>
            </a:r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351F2CBB-E41D-4B0C-923D-9C3035FEF30E}"/>
              </a:ext>
            </a:extLst>
          </p:cNvPr>
          <p:cNvSpPr txBox="1">
            <a:spLocks/>
          </p:cNvSpPr>
          <p:nvPr/>
        </p:nvSpPr>
        <p:spPr>
          <a:xfrm>
            <a:off x="431800" y="1361277"/>
            <a:ext cx="1521196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b="1" kern="0" dirty="0"/>
              <a:t>Признаки:</a:t>
            </a:r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02A1C064-3BA7-91D0-D306-9A18E0A0D3E6}"/>
              </a:ext>
            </a:extLst>
          </p:cNvPr>
          <p:cNvSpPr txBox="1">
            <a:spLocks/>
          </p:cNvSpPr>
          <p:nvPr/>
        </p:nvSpPr>
        <p:spPr>
          <a:xfrm>
            <a:off x="431800" y="764745"/>
            <a:ext cx="5217886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b="1" dirty="0">
                <a:solidFill>
                  <a:schemeClr val="bg1"/>
                </a:solidFill>
              </a:rPr>
              <a:t>Работаю «на автомате» </a:t>
            </a:r>
            <a:endParaRPr lang="ru-RU" sz="2000" b="1" kern="0" dirty="0">
              <a:solidFill>
                <a:schemeClr val="bg1"/>
              </a:solidFill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CC5C8E88-C345-3558-3115-BCD6047067F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92733" y="4391974"/>
            <a:ext cx="1728000" cy="1728000"/>
          </a:xfrm>
          <a:prstGeom prst="rect">
            <a:avLst/>
          </a:prstGeom>
        </p:spPr>
      </p:pic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A9505A70-8073-11E1-E5AB-3D3076CA86F4}"/>
              </a:ext>
            </a:extLst>
          </p:cNvPr>
          <p:cNvCxnSpPr>
            <a:cxnSpLocks/>
          </p:cNvCxnSpPr>
          <p:nvPr/>
        </p:nvCxnSpPr>
        <p:spPr bwMode="auto">
          <a:xfrm>
            <a:off x="431800" y="2101817"/>
            <a:ext cx="201530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C754DE5A-4D54-788A-8437-92D4AA94C752}"/>
              </a:ext>
            </a:extLst>
          </p:cNvPr>
          <p:cNvCxnSpPr>
            <a:cxnSpLocks/>
          </p:cNvCxnSpPr>
          <p:nvPr/>
        </p:nvCxnSpPr>
        <p:spPr bwMode="auto">
          <a:xfrm>
            <a:off x="3004164" y="2101817"/>
            <a:ext cx="168460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7E392DDB-D668-D65D-698D-BB42C52B246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00" y="1832380"/>
            <a:ext cx="208076" cy="201167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71CB4C20-F893-FE94-775D-0A4A64D75D1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6967" y="1832380"/>
            <a:ext cx="208076" cy="201167"/>
          </a:xfrm>
          <a:prstGeom prst="rect">
            <a:avLst/>
          </a:prstGeom>
        </p:spPr>
      </p:pic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12B15461-CCB5-FA6A-D140-84D7FA2D7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775" y="-598092"/>
            <a:ext cx="8636400" cy="529200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10" name="Рисунок 9" descr="Топливо со сплошной заливкой">
            <a:extLst>
              <a:ext uri="{FF2B5EF4-FFF2-40B4-BE49-F238E27FC236}">
                <a16:creationId xmlns:a16="http://schemas.microsoft.com/office/drawing/2014/main" id="{C4531B3E-B6A8-4908-237B-2BF676F514B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49476" y="2140401"/>
            <a:ext cx="267336" cy="267336"/>
          </a:xfrm>
          <a:prstGeom prst="rect">
            <a:avLst/>
          </a:prstGeom>
        </p:spPr>
      </p:pic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E9B3BFCC-A363-6243-F79E-4C3DCBF50BB8}"/>
              </a:ext>
            </a:extLst>
          </p:cNvPr>
          <p:cNvSpPr txBox="1">
            <a:spLocks/>
          </p:cNvSpPr>
          <p:nvPr/>
        </p:nvSpPr>
        <p:spPr>
          <a:xfrm>
            <a:off x="5625227" y="2163087"/>
            <a:ext cx="2215839" cy="129266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1400" kern="0" dirty="0">
                <a:solidFill>
                  <a:srgbClr val="00313C"/>
                </a:solidFill>
              </a:rPr>
              <a:t>Работаю меньше. </a:t>
            </a:r>
            <a:br>
              <a:rPr lang="ru-RU" sz="1400" kern="0" dirty="0">
                <a:solidFill>
                  <a:srgbClr val="00313C"/>
                </a:solidFill>
              </a:rPr>
            </a:br>
            <a:r>
              <a:rPr lang="ru-RU" sz="1400" kern="0" dirty="0">
                <a:solidFill>
                  <a:srgbClr val="00313C"/>
                </a:solidFill>
              </a:rPr>
              <a:t>Делаю вид, что все </a:t>
            </a:r>
            <a:br>
              <a:rPr lang="ru-RU" sz="1400" kern="0" dirty="0">
                <a:solidFill>
                  <a:srgbClr val="00313C"/>
                </a:solidFill>
              </a:rPr>
            </a:br>
            <a:r>
              <a:rPr lang="ru-RU" sz="1400" kern="0" dirty="0">
                <a:solidFill>
                  <a:srgbClr val="00313C"/>
                </a:solidFill>
              </a:rPr>
              <a:t>в порядке. Снижаю скорость. Но продолжаю не замечать, что топливо на исходе</a:t>
            </a:r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62C5C9D3-E5A3-C6B5-E331-A08248B1ADD1}"/>
              </a:ext>
            </a:extLst>
          </p:cNvPr>
          <p:cNvCxnSpPr>
            <a:cxnSpLocks/>
          </p:cNvCxnSpPr>
          <p:nvPr/>
        </p:nvCxnSpPr>
        <p:spPr bwMode="auto">
          <a:xfrm>
            <a:off x="5642424" y="2101817"/>
            <a:ext cx="207685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0A2C0795-079C-6A6C-86F2-F4BAE86E481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5227" y="1832380"/>
            <a:ext cx="208076" cy="201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4441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Ответы Mail.ru: как называется такая штука на веревке шарики бьются друг о  друга и друг друга толкают?">
            <a:extLst>
              <a:ext uri="{FF2B5EF4-FFF2-40B4-BE49-F238E27FC236}">
                <a16:creationId xmlns:a16="http://schemas.microsoft.com/office/drawing/2014/main" id="{45593FEB-98AA-7C3E-6CE0-85769B7E19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3096" y="0"/>
            <a:ext cx="6858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Прямоугольник: скругленные углы 8">
            <a:extLst>
              <a:ext uri="{FF2B5EF4-FFF2-40B4-BE49-F238E27FC236}">
                <a16:creationId xmlns:a16="http://schemas.microsoft.com/office/drawing/2014/main" id="{F4886E82-FEEC-846C-03FD-9C29541D1895}"/>
              </a:ext>
            </a:extLst>
          </p:cNvPr>
          <p:cNvSpPr/>
          <p:nvPr/>
        </p:nvSpPr>
        <p:spPr bwMode="auto">
          <a:xfrm flipH="1">
            <a:off x="-4" y="0"/>
            <a:ext cx="4572004" cy="5161346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/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CC5C8E88-C345-3558-3115-BCD6047067F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2609916" y="3767321"/>
            <a:ext cx="891992" cy="891992"/>
          </a:xfrm>
          <a:prstGeom prst="rect">
            <a:avLst/>
          </a:prstGeom>
        </p:spPr>
      </p:pic>
      <p:sp>
        <p:nvSpPr>
          <p:cNvPr id="28" name="Скругленный прямоугольник 27">
            <a:extLst>
              <a:ext uri="{FF2B5EF4-FFF2-40B4-BE49-F238E27FC236}">
                <a16:creationId xmlns:a16="http://schemas.microsoft.com/office/drawing/2014/main" id="{A993506E-AC09-A871-6F3B-76D512076634}"/>
              </a:ext>
            </a:extLst>
          </p:cNvPr>
          <p:cNvSpPr/>
          <p:nvPr/>
        </p:nvSpPr>
        <p:spPr bwMode="auto">
          <a:xfrm>
            <a:off x="328398" y="5922214"/>
            <a:ext cx="1728000" cy="1728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023FA83B-E0FE-43EC-828B-162B6FADFB8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3920" y="5255974"/>
            <a:ext cx="1636414" cy="1183692"/>
          </a:xfrm>
          <a:prstGeom prst="rect">
            <a:avLst/>
          </a:prstGeom>
        </p:spPr>
      </p:pic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40BF5D06-0B0F-4A21-953F-3C24ED942A44}"/>
              </a:ext>
            </a:extLst>
          </p:cNvPr>
          <p:cNvSpPr txBox="1">
            <a:spLocks/>
          </p:cNvSpPr>
          <p:nvPr/>
        </p:nvSpPr>
        <p:spPr>
          <a:xfrm>
            <a:off x="431800" y="242570"/>
            <a:ext cx="3882142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3200" b="1" dirty="0">
                <a:solidFill>
                  <a:schemeClr val="bg1"/>
                </a:solidFill>
              </a:rPr>
              <a:t>Что делать? </a:t>
            </a: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12B15461-CCB5-FA6A-D140-84D7FA2D7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775" y="-598092"/>
            <a:ext cx="8636400" cy="5292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0F28EFE-FC3F-97A4-2C6F-DFA305E3FB2B}"/>
              </a:ext>
            </a:extLst>
          </p:cNvPr>
          <p:cNvSpPr txBox="1">
            <a:spLocks/>
          </p:cNvSpPr>
          <p:nvPr/>
        </p:nvSpPr>
        <p:spPr>
          <a:xfrm>
            <a:off x="431800" y="1123139"/>
            <a:ext cx="2947504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2000" dirty="0">
                <a:solidFill>
                  <a:schemeClr val="bg1"/>
                </a:solidFill>
              </a:rPr>
              <a:t>Как не попасть </a:t>
            </a:r>
            <a:br>
              <a:rPr lang="ru-RU" sz="2000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в капкан </a:t>
            </a:r>
            <a:r>
              <a:rPr lang="ru-RU" sz="2000" b="1" dirty="0">
                <a:solidFill>
                  <a:schemeClr val="bg1"/>
                </a:solidFill>
              </a:rPr>
              <a:t>«Отрицания» </a:t>
            </a:r>
            <a:r>
              <a:rPr lang="ru-RU" sz="2000" dirty="0">
                <a:solidFill>
                  <a:schemeClr val="bg1"/>
                </a:solidFill>
              </a:rPr>
              <a:t>или выбраться из него?</a:t>
            </a:r>
          </a:p>
        </p:txBody>
      </p:sp>
    </p:spTree>
    <p:extLst>
      <p:ext uri="{BB962C8B-B14F-4D97-AF65-F5344CB8AC3E}">
        <p14:creationId xmlns:p14="http://schemas.microsoft.com/office/powerpoint/2010/main" val="35916587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: скругленные углы 8">
            <a:extLst>
              <a:ext uri="{FF2B5EF4-FFF2-40B4-BE49-F238E27FC236}">
                <a16:creationId xmlns:a16="http://schemas.microsoft.com/office/drawing/2014/main" id="{F4886E82-FEEC-846C-03FD-9C29541D1895}"/>
              </a:ext>
            </a:extLst>
          </p:cNvPr>
          <p:cNvSpPr/>
          <p:nvPr/>
        </p:nvSpPr>
        <p:spPr bwMode="auto">
          <a:xfrm flipH="1">
            <a:off x="-4" y="0"/>
            <a:ext cx="4572004" cy="5161346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/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CC5C8E88-C345-3558-3115-BCD6047067F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609916" y="3767321"/>
            <a:ext cx="891992" cy="891992"/>
          </a:xfrm>
          <a:prstGeom prst="rect">
            <a:avLst/>
          </a:prstGeom>
        </p:spPr>
      </p:pic>
      <p:sp>
        <p:nvSpPr>
          <p:cNvPr id="28" name="Скругленный прямоугольник 27">
            <a:extLst>
              <a:ext uri="{FF2B5EF4-FFF2-40B4-BE49-F238E27FC236}">
                <a16:creationId xmlns:a16="http://schemas.microsoft.com/office/drawing/2014/main" id="{A993506E-AC09-A871-6F3B-76D512076634}"/>
              </a:ext>
            </a:extLst>
          </p:cNvPr>
          <p:cNvSpPr/>
          <p:nvPr/>
        </p:nvSpPr>
        <p:spPr bwMode="auto">
          <a:xfrm>
            <a:off x="328398" y="5922214"/>
            <a:ext cx="1728000" cy="1728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023FA83B-E0FE-43EC-828B-162B6FADFB8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3920" y="5255974"/>
            <a:ext cx="1636414" cy="1183692"/>
          </a:xfrm>
          <a:prstGeom prst="rect">
            <a:avLst/>
          </a:prstGeom>
        </p:spPr>
      </p:pic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40BF5D06-0B0F-4A21-953F-3C24ED942A44}"/>
              </a:ext>
            </a:extLst>
          </p:cNvPr>
          <p:cNvSpPr txBox="1">
            <a:spLocks/>
          </p:cNvSpPr>
          <p:nvPr/>
        </p:nvSpPr>
        <p:spPr>
          <a:xfrm>
            <a:off x="431800" y="242570"/>
            <a:ext cx="3882142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3200" b="1" dirty="0">
                <a:solidFill>
                  <a:schemeClr val="bg1"/>
                </a:solidFill>
              </a:rPr>
              <a:t>Что делать? </a:t>
            </a: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12B15461-CCB5-FA6A-D140-84D7FA2D7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775" y="-598092"/>
            <a:ext cx="8636400" cy="529200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12" name="Рисунок 11" descr="Измерительный прибор со сплошной заливкой">
            <a:extLst>
              <a:ext uri="{FF2B5EF4-FFF2-40B4-BE49-F238E27FC236}">
                <a16:creationId xmlns:a16="http://schemas.microsoft.com/office/drawing/2014/main" id="{ECB2BEE8-021C-F15E-7922-C737D607911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397556" y="3354598"/>
            <a:ext cx="2482980" cy="248298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0F28EFE-FC3F-97A4-2C6F-DFA305E3FB2B}"/>
              </a:ext>
            </a:extLst>
          </p:cNvPr>
          <p:cNvSpPr txBox="1">
            <a:spLocks/>
          </p:cNvSpPr>
          <p:nvPr/>
        </p:nvSpPr>
        <p:spPr>
          <a:xfrm>
            <a:off x="431800" y="1123139"/>
            <a:ext cx="2947504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2000" dirty="0">
                <a:solidFill>
                  <a:schemeClr val="bg1"/>
                </a:solidFill>
              </a:rPr>
              <a:t>Как не попасть </a:t>
            </a:r>
            <a:br>
              <a:rPr lang="ru-RU" sz="2000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в капкан </a:t>
            </a:r>
            <a:r>
              <a:rPr lang="ru-RU" sz="2000" b="1" dirty="0">
                <a:solidFill>
                  <a:schemeClr val="bg1"/>
                </a:solidFill>
              </a:rPr>
              <a:t>«Отрицания» </a:t>
            </a:r>
            <a:r>
              <a:rPr lang="ru-RU" sz="2000" dirty="0">
                <a:solidFill>
                  <a:schemeClr val="bg1"/>
                </a:solidFill>
              </a:rPr>
              <a:t>или выбраться из него?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7AE754AF-78DB-F3E9-205E-532594E3A6FE}"/>
              </a:ext>
            </a:extLst>
          </p:cNvPr>
          <p:cNvSpPr txBox="1">
            <a:spLocks/>
          </p:cNvSpPr>
          <p:nvPr/>
        </p:nvSpPr>
        <p:spPr>
          <a:xfrm>
            <a:off x="5003805" y="2126818"/>
            <a:ext cx="3073395" cy="64633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defTabSz="914400" fontAlgn="base">
              <a:spcBef>
                <a:spcPct val="0"/>
              </a:spcBef>
              <a:spcAft>
                <a:spcPct val="0"/>
              </a:spcAft>
              <a:defRPr sz="2000" kern="0">
                <a:solidFill>
                  <a:srgbClr val="00313C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sz="1400" dirty="0"/>
              <a:t>Развивать чувство ответственности к своему состоянию, своевременно восполнять запас энергии</a:t>
            </a: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65AF3938-F055-8195-350C-10D397F92948}"/>
              </a:ext>
            </a:extLst>
          </p:cNvPr>
          <p:cNvSpPr txBox="1">
            <a:spLocks/>
          </p:cNvSpPr>
          <p:nvPr/>
        </p:nvSpPr>
        <p:spPr>
          <a:xfrm>
            <a:off x="5003804" y="242570"/>
            <a:ext cx="2627780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3200" b="1" kern="0" dirty="0"/>
              <a:t>Решение: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C9CC951A-7588-714E-5C35-45AC10AB54B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4" y="1166813"/>
            <a:ext cx="556980" cy="540662"/>
          </a:xfrm>
          <a:prstGeom prst="rect">
            <a:avLst/>
          </a:prstGeom>
        </p:spPr>
      </p:pic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4F26BE7B-03EC-B1BF-B7E4-9E4B379CEE17}"/>
              </a:ext>
            </a:extLst>
          </p:cNvPr>
          <p:cNvCxnSpPr>
            <a:cxnSpLocks/>
          </p:cNvCxnSpPr>
          <p:nvPr/>
        </p:nvCxnSpPr>
        <p:spPr bwMode="auto">
          <a:xfrm>
            <a:off x="5003805" y="1934177"/>
            <a:ext cx="293642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8959377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: скругленные углы 8">
            <a:extLst>
              <a:ext uri="{FF2B5EF4-FFF2-40B4-BE49-F238E27FC236}">
                <a16:creationId xmlns:a16="http://schemas.microsoft.com/office/drawing/2014/main" id="{D6839C6E-3D21-3BF0-CA1F-34A21790159F}"/>
              </a:ext>
            </a:extLst>
          </p:cNvPr>
          <p:cNvSpPr/>
          <p:nvPr/>
        </p:nvSpPr>
        <p:spPr bwMode="auto">
          <a:xfrm flipH="1">
            <a:off x="-1" y="-9453"/>
            <a:ext cx="9144001" cy="1237833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4" name="Прямоугольник: скругленные углы 8">
            <a:extLst>
              <a:ext uri="{FF2B5EF4-FFF2-40B4-BE49-F238E27FC236}">
                <a16:creationId xmlns:a16="http://schemas.microsoft.com/office/drawing/2014/main" id="{EF5853E1-D509-FDA3-765C-A5B4058BD782}"/>
              </a:ext>
            </a:extLst>
          </p:cNvPr>
          <p:cNvSpPr/>
          <p:nvPr/>
        </p:nvSpPr>
        <p:spPr bwMode="auto">
          <a:xfrm>
            <a:off x="4657781" y="4142630"/>
            <a:ext cx="2284015" cy="445274"/>
          </a:xfrm>
          <a:prstGeom prst="roundRect">
            <a:avLst/>
          </a:prstGeom>
          <a:solidFill>
            <a:srgbClr val="80F5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82E89CB-5C42-4CF7-8A92-D72F68A89020}"/>
              </a:ext>
            </a:extLst>
          </p:cNvPr>
          <p:cNvSpPr txBox="1">
            <a:spLocks/>
          </p:cNvSpPr>
          <p:nvPr/>
        </p:nvSpPr>
        <p:spPr>
          <a:xfrm>
            <a:off x="2948509" y="2164859"/>
            <a:ext cx="2084089" cy="8617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defTabSz="914400" fontAlgn="base">
              <a:spcBef>
                <a:spcPct val="0"/>
              </a:spcBef>
              <a:spcAft>
                <a:spcPct val="0"/>
              </a:spcAft>
              <a:defRPr sz="1400" kern="0"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pPr marL="285750" indent="-285750">
              <a:buClr>
                <a:srgbClr val="77E2C3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313C"/>
                </a:solidFill>
              </a:rPr>
              <a:t>Игнорирование обучений </a:t>
            </a:r>
            <a:br>
              <a:rPr lang="ru-RU" dirty="0">
                <a:solidFill>
                  <a:srgbClr val="00313C"/>
                </a:solidFill>
              </a:rPr>
            </a:br>
            <a:r>
              <a:rPr lang="ru-RU" dirty="0">
                <a:solidFill>
                  <a:srgbClr val="00313C"/>
                </a:solidFill>
              </a:rPr>
              <a:t>и нововведений, экономия сил </a:t>
            </a: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4E9D7BA-7B7D-443A-9C80-68F4F3E76B31}"/>
              </a:ext>
            </a:extLst>
          </p:cNvPr>
          <p:cNvSpPr txBox="1">
            <a:spLocks/>
          </p:cNvSpPr>
          <p:nvPr/>
        </p:nvSpPr>
        <p:spPr>
          <a:xfrm>
            <a:off x="5210103" y="2164859"/>
            <a:ext cx="2436023" cy="154914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defTabSz="914400" fontAlgn="base">
              <a:spcBef>
                <a:spcPct val="0"/>
              </a:spcBef>
              <a:spcAft>
                <a:spcPct val="0"/>
              </a:spcAft>
              <a:defRPr sz="1400" kern="0"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pPr marL="285750" indent="-285750">
              <a:spcAft>
                <a:spcPts val="1000"/>
              </a:spcAft>
              <a:buClr>
                <a:srgbClr val="77E2C3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313C"/>
                </a:solidFill>
              </a:rPr>
              <a:t>Трачу еще больше энергии</a:t>
            </a:r>
          </a:p>
          <a:p>
            <a:pPr marL="285750" indent="-285750">
              <a:spcAft>
                <a:spcPts val="1000"/>
              </a:spcAft>
              <a:buClr>
                <a:srgbClr val="77E2C3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313C"/>
                </a:solidFill>
              </a:rPr>
              <a:t>Нет сил на освоение новых методов,</a:t>
            </a:r>
          </a:p>
          <a:p>
            <a:pPr marL="285750" indent="-285750">
              <a:spcAft>
                <a:spcPts val="1000"/>
              </a:spcAft>
              <a:buClr>
                <a:srgbClr val="77E2C3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313C"/>
                </a:solidFill>
              </a:rPr>
              <a:t>Отсутствует креативный подход</a:t>
            </a:r>
          </a:p>
        </p:txBody>
      </p:sp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D2D88B4D-54E2-46AF-B2F8-7C37D661C9B7}"/>
              </a:ext>
            </a:extLst>
          </p:cNvPr>
          <p:cNvSpPr txBox="1">
            <a:spLocks/>
          </p:cNvSpPr>
          <p:nvPr/>
        </p:nvSpPr>
        <p:spPr>
          <a:xfrm>
            <a:off x="4657782" y="4240728"/>
            <a:ext cx="2284015" cy="215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defTabSz="914400" fontAlgn="base">
              <a:spcBef>
                <a:spcPct val="0"/>
              </a:spcBef>
              <a:spcAft>
                <a:spcPct val="0"/>
              </a:spcAft>
              <a:defRPr sz="1400" kern="0"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pPr algn="ctr"/>
            <a:r>
              <a:rPr lang="ru-RU" dirty="0">
                <a:solidFill>
                  <a:srgbClr val="00313C"/>
                </a:solidFill>
              </a:rPr>
              <a:t>«Делать, как привыкли»</a:t>
            </a: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61056A40-821C-4C5E-ED7C-80779265D110}"/>
              </a:ext>
            </a:extLst>
          </p:cNvPr>
          <p:cNvSpPr txBox="1">
            <a:spLocks/>
          </p:cNvSpPr>
          <p:nvPr/>
        </p:nvSpPr>
        <p:spPr>
          <a:xfrm>
            <a:off x="431800" y="362492"/>
            <a:ext cx="3484180" cy="49244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b="1" kern="0" dirty="0">
                <a:solidFill>
                  <a:schemeClr val="bg1"/>
                </a:solidFill>
              </a:rPr>
              <a:t>Капкан </a:t>
            </a:r>
            <a:r>
              <a:rPr lang="ru-RU" sz="3200" b="1" kern="0" dirty="0">
                <a:solidFill>
                  <a:schemeClr val="bg1"/>
                </a:solidFill>
              </a:rPr>
              <a:t>«ТЕКУЧКА»</a:t>
            </a:r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EC046A9F-A433-6EFF-B262-8436750F8D3E}"/>
              </a:ext>
            </a:extLst>
          </p:cNvPr>
          <p:cNvSpPr txBox="1">
            <a:spLocks/>
          </p:cNvSpPr>
          <p:nvPr/>
        </p:nvSpPr>
        <p:spPr>
          <a:xfrm>
            <a:off x="431800" y="1361277"/>
            <a:ext cx="1521196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b="1" kern="0" dirty="0"/>
              <a:t>Признаки:</a:t>
            </a: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15E777E0-23C5-A170-018C-E7C63E1C69C0}"/>
              </a:ext>
            </a:extLst>
          </p:cNvPr>
          <p:cNvSpPr txBox="1">
            <a:spLocks/>
          </p:cNvSpPr>
          <p:nvPr/>
        </p:nvSpPr>
        <p:spPr>
          <a:xfrm>
            <a:off x="431800" y="764745"/>
            <a:ext cx="3484180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endParaRPr lang="ru-RU" sz="2000" b="1" kern="0" dirty="0">
              <a:solidFill>
                <a:schemeClr val="bg1"/>
              </a:solidFill>
            </a:endParaRPr>
          </a:p>
        </p:txBody>
      </p:sp>
      <p:sp>
        <p:nvSpPr>
          <p:cNvPr id="30" name="Заголовок 1">
            <a:extLst>
              <a:ext uri="{FF2B5EF4-FFF2-40B4-BE49-F238E27FC236}">
                <a16:creationId xmlns:a16="http://schemas.microsoft.com/office/drawing/2014/main" id="{61201601-9B01-2708-630E-E5FF971F16C6}"/>
              </a:ext>
            </a:extLst>
          </p:cNvPr>
          <p:cNvSpPr txBox="1">
            <a:spLocks/>
          </p:cNvSpPr>
          <p:nvPr/>
        </p:nvSpPr>
        <p:spPr>
          <a:xfrm>
            <a:off x="468313" y="2164859"/>
            <a:ext cx="2084088" cy="64633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defTabSz="914400">
              <a:buClr>
                <a:srgbClr val="77E2C3"/>
              </a:buClr>
              <a:buFont typeface="Arial" panose="020B0604020202020204" pitchFamily="34" charset="0"/>
              <a:buChar char="•"/>
            </a:pPr>
            <a:r>
              <a:rPr lang="ru-RU" sz="1400" kern="0" dirty="0">
                <a:solidFill>
                  <a:srgbClr val="00313C"/>
                </a:solidFill>
              </a:rPr>
              <a:t>Отсутствие поиска новых решений, интереса к обучению</a:t>
            </a:r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0346DFCF-4441-2EC2-55C4-590401038AA3}"/>
              </a:ext>
            </a:extLst>
          </p:cNvPr>
          <p:cNvCxnSpPr>
            <a:cxnSpLocks/>
          </p:cNvCxnSpPr>
          <p:nvPr/>
        </p:nvCxnSpPr>
        <p:spPr bwMode="auto">
          <a:xfrm>
            <a:off x="468313" y="2101817"/>
            <a:ext cx="171050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D2EDBAE3-54CC-EBC7-2B74-CD4AAA6EC5F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313" y="1832380"/>
            <a:ext cx="208076" cy="201167"/>
          </a:xfrm>
          <a:prstGeom prst="rect">
            <a:avLst/>
          </a:prstGeom>
        </p:spPr>
      </p:pic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638275A8-A1F7-4D3E-27DB-C37393CF26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600" y="-1707942"/>
            <a:ext cx="8636400" cy="529200"/>
          </a:xfrm>
        </p:spPr>
        <p:txBody>
          <a:bodyPr/>
          <a:lstStyle/>
          <a:p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89A955C-7F2C-43B1-B8B2-E01A6E7D759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514381" y="3202404"/>
            <a:ext cx="1717488" cy="1606352"/>
          </a:xfrm>
          <a:prstGeom prst="rect">
            <a:avLst/>
          </a:prstGeom>
        </p:spPr>
      </p:pic>
      <p:sp>
        <p:nvSpPr>
          <p:cNvPr id="11" name="Треугольник 10">
            <a:extLst>
              <a:ext uri="{FF2B5EF4-FFF2-40B4-BE49-F238E27FC236}">
                <a16:creationId xmlns:a16="http://schemas.microsoft.com/office/drawing/2014/main" id="{E2C06771-88E5-936F-37D9-9A53B88B00CA}"/>
              </a:ext>
            </a:extLst>
          </p:cNvPr>
          <p:cNvSpPr/>
          <p:nvPr/>
        </p:nvSpPr>
        <p:spPr bwMode="auto">
          <a:xfrm>
            <a:off x="6825957" y="4388182"/>
            <a:ext cx="231678" cy="199722"/>
          </a:xfrm>
          <a:prstGeom prst="triangle">
            <a:avLst/>
          </a:prstGeom>
          <a:solidFill>
            <a:srgbClr val="80F5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95ED4DB0-CC5D-B939-6AC7-5878D100D596}"/>
              </a:ext>
            </a:extLst>
          </p:cNvPr>
          <p:cNvCxnSpPr>
            <a:cxnSpLocks/>
          </p:cNvCxnSpPr>
          <p:nvPr/>
        </p:nvCxnSpPr>
        <p:spPr bwMode="auto">
          <a:xfrm>
            <a:off x="2948509" y="2101817"/>
            <a:ext cx="131773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54522EEC-AED0-2ACA-18D7-6A8E16B9953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509" y="1832380"/>
            <a:ext cx="208076" cy="201167"/>
          </a:xfrm>
          <a:prstGeom prst="rect">
            <a:avLst/>
          </a:prstGeom>
        </p:spPr>
      </p:pic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E81D5268-3BA6-A6F0-471D-49B0412378ED}"/>
              </a:ext>
            </a:extLst>
          </p:cNvPr>
          <p:cNvCxnSpPr>
            <a:cxnSpLocks/>
          </p:cNvCxnSpPr>
          <p:nvPr/>
        </p:nvCxnSpPr>
        <p:spPr bwMode="auto">
          <a:xfrm>
            <a:off x="5210103" y="2101817"/>
            <a:ext cx="235764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5B7A5E18-A549-7F45-C51B-89B185DC446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0103" y="1832380"/>
            <a:ext cx="180089" cy="20116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F1583D9-83F0-66C3-57B9-50DE7B80A942}"/>
              </a:ext>
            </a:extLst>
          </p:cNvPr>
          <p:cNvSpPr txBox="1"/>
          <p:nvPr/>
        </p:nvSpPr>
        <p:spPr>
          <a:xfrm>
            <a:off x="2046514" y="2290354"/>
            <a:ext cx="18473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41621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19 ne images libres de droit, photos de 19 ne | Depositphotos">
            <a:extLst>
              <a:ext uri="{FF2B5EF4-FFF2-40B4-BE49-F238E27FC236}">
                <a16:creationId xmlns:a16="http://schemas.microsoft.com/office/drawing/2014/main" id="{A818BD0E-4FA9-05DE-A9C5-0AFA02E086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531"/>
          <a:stretch/>
        </p:blipFill>
        <p:spPr bwMode="auto">
          <a:xfrm>
            <a:off x="2759239" y="0"/>
            <a:ext cx="6384762" cy="5161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Прямоугольник: скругленные углы 8">
            <a:extLst>
              <a:ext uri="{FF2B5EF4-FFF2-40B4-BE49-F238E27FC236}">
                <a16:creationId xmlns:a16="http://schemas.microsoft.com/office/drawing/2014/main" id="{F4886E82-FEEC-846C-03FD-9C29541D1895}"/>
              </a:ext>
            </a:extLst>
          </p:cNvPr>
          <p:cNvSpPr/>
          <p:nvPr/>
        </p:nvSpPr>
        <p:spPr bwMode="auto">
          <a:xfrm flipH="1">
            <a:off x="-4" y="0"/>
            <a:ext cx="4572004" cy="5161346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/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CC5C8E88-C345-3558-3115-BCD6047067F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2609916" y="3767321"/>
            <a:ext cx="891992" cy="891992"/>
          </a:xfrm>
          <a:prstGeom prst="rect">
            <a:avLst/>
          </a:prstGeom>
        </p:spPr>
      </p:pic>
      <p:sp>
        <p:nvSpPr>
          <p:cNvPr id="28" name="Скругленный прямоугольник 27">
            <a:extLst>
              <a:ext uri="{FF2B5EF4-FFF2-40B4-BE49-F238E27FC236}">
                <a16:creationId xmlns:a16="http://schemas.microsoft.com/office/drawing/2014/main" id="{A993506E-AC09-A871-6F3B-76D512076634}"/>
              </a:ext>
            </a:extLst>
          </p:cNvPr>
          <p:cNvSpPr/>
          <p:nvPr/>
        </p:nvSpPr>
        <p:spPr bwMode="auto">
          <a:xfrm>
            <a:off x="328398" y="5922214"/>
            <a:ext cx="1728000" cy="1728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023FA83B-E0FE-43EC-828B-162B6FADFB8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3920" y="5255974"/>
            <a:ext cx="1636414" cy="1183692"/>
          </a:xfrm>
          <a:prstGeom prst="rect">
            <a:avLst/>
          </a:prstGeom>
        </p:spPr>
      </p:pic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40BF5D06-0B0F-4A21-953F-3C24ED942A44}"/>
              </a:ext>
            </a:extLst>
          </p:cNvPr>
          <p:cNvSpPr txBox="1">
            <a:spLocks/>
          </p:cNvSpPr>
          <p:nvPr/>
        </p:nvSpPr>
        <p:spPr>
          <a:xfrm>
            <a:off x="431800" y="242570"/>
            <a:ext cx="3882142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3200" b="1" dirty="0">
                <a:solidFill>
                  <a:schemeClr val="bg1"/>
                </a:solidFill>
              </a:rPr>
              <a:t>Что делать? </a:t>
            </a: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12B15461-CCB5-FA6A-D140-84D7FA2D7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775" y="-598092"/>
            <a:ext cx="8636400" cy="5292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0F28EFE-FC3F-97A4-2C6F-DFA305E3FB2B}"/>
              </a:ext>
            </a:extLst>
          </p:cNvPr>
          <p:cNvSpPr txBox="1">
            <a:spLocks/>
          </p:cNvSpPr>
          <p:nvPr/>
        </p:nvSpPr>
        <p:spPr>
          <a:xfrm>
            <a:off x="431800" y="1123139"/>
            <a:ext cx="2947504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2000" dirty="0">
                <a:solidFill>
                  <a:schemeClr val="bg1"/>
                </a:solidFill>
              </a:rPr>
              <a:t>Как не попасть </a:t>
            </a:r>
            <a:br>
              <a:rPr lang="ru-RU" sz="2000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в капкан </a:t>
            </a:r>
            <a:r>
              <a:rPr lang="ru-RU" sz="2000" b="1" dirty="0">
                <a:solidFill>
                  <a:schemeClr val="bg1"/>
                </a:solidFill>
              </a:rPr>
              <a:t>«Текучка» </a:t>
            </a:r>
            <a:br>
              <a:rPr lang="ru-RU" sz="2000" b="1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или выбраться из него?</a:t>
            </a:r>
          </a:p>
        </p:txBody>
      </p:sp>
      <p:sp>
        <p:nvSpPr>
          <p:cNvPr id="8" name="Треугольник 7">
            <a:extLst>
              <a:ext uri="{FF2B5EF4-FFF2-40B4-BE49-F238E27FC236}">
                <a16:creationId xmlns:a16="http://schemas.microsoft.com/office/drawing/2014/main" id="{E30E587A-8FD6-70C3-13C5-CE974980617D}"/>
              </a:ext>
            </a:extLst>
          </p:cNvPr>
          <p:cNvSpPr/>
          <p:nvPr/>
        </p:nvSpPr>
        <p:spPr bwMode="auto">
          <a:xfrm rot="751713">
            <a:off x="8547587" y="4443015"/>
            <a:ext cx="231678" cy="243265"/>
          </a:xfrm>
          <a:prstGeom prst="triangle">
            <a:avLst/>
          </a:prstGeom>
          <a:solidFill>
            <a:srgbClr val="80F5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57033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13668" y="1298634"/>
            <a:ext cx="2262498" cy="153888"/>
          </a:xfrm>
        </p:spPr>
        <p:txBody>
          <a:bodyPr>
            <a:spAutoFit/>
          </a:bodyPr>
          <a:lstStyle/>
          <a:p>
            <a:r>
              <a:rPr lang="ru-RU" sz="1000" dirty="0">
                <a:solidFill>
                  <a:srgbClr val="00313C"/>
                </a:solidFill>
              </a:rPr>
              <a:t>Старший ментор компании СИБУР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86F552A-167C-4F8E-A53B-CFF4FFFC418B}"/>
              </a:ext>
            </a:extLst>
          </p:cNvPr>
          <p:cNvSpPr txBox="1">
            <a:spLocks/>
          </p:cNvSpPr>
          <p:nvPr/>
        </p:nvSpPr>
        <p:spPr>
          <a:xfrm>
            <a:off x="1800336" y="343320"/>
            <a:ext cx="1920411" cy="83099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b="1" kern="0" dirty="0">
                <a:gradFill flip="none" rotWithShape="1">
                  <a:gsLst>
                    <a:gs pos="0">
                      <a:srgbClr val="80F5D9"/>
                    </a:gs>
                    <a:gs pos="61000">
                      <a:srgbClr val="008C95"/>
                    </a:gs>
                  </a:gsLst>
                  <a:lin ang="13500000" scaled="1"/>
                  <a:tileRect/>
                </a:gradFill>
              </a:rPr>
              <a:t>Константин Владимирович Белкин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1510AE4-37D6-480F-8DEB-EFCD502F488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 flipH="1">
            <a:off x="438331" y="376238"/>
            <a:ext cx="1076284" cy="1076284"/>
          </a:xfrm>
          <a:prstGeom prst="roundRect">
            <a:avLst>
              <a:gd name="adj" fmla="val 0"/>
            </a:avLst>
          </a:prstGeom>
        </p:spPr>
      </p:pic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888CCC4B-44F9-48BF-8B7F-56D9717C1329}"/>
              </a:ext>
            </a:extLst>
          </p:cNvPr>
          <p:cNvSpPr txBox="1">
            <a:spLocks/>
          </p:cNvSpPr>
          <p:nvPr/>
        </p:nvSpPr>
        <p:spPr>
          <a:xfrm>
            <a:off x="431800" y="2229154"/>
            <a:ext cx="1496286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ts val="0"/>
              </a:spcBef>
              <a:spcAft>
                <a:spcPts val="1000"/>
              </a:spcAft>
            </a:pPr>
            <a:r>
              <a:rPr lang="ru-RU" sz="900" dirty="0">
                <a:solidFill>
                  <a:srgbClr val="00313C"/>
                </a:solidFill>
              </a:rPr>
              <a:t>управленческого опыта </a:t>
            </a:r>
            <a:br>
              <a:rPr lang="ru-RU" sz="900" dirty="0">
                <a:solidFill>
                  <a:srgbClr val="00313C"/>
                </a:solidFill>
              </a:rPr>
            </a:br>
            <a:r>
              <a:rPr lang="ru-RU" sz="900" dirty="0">
                <a:solidFill>
                  <a:srgbClr val="00313C"/>
                </a:solidFill>
              </a:rPr>
              <a:t>от начальника смены завода до управляющего директора Компании</a:t>
            </a: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E7984F0-205D-40B4-B020-21AD74E735B1}"/>
              </a:ext>
            </a:extLst>
          </p:cNvPr>
          <p:cNvSpPr txBox="1">
            <a:spLocks/>
          </p:cNvSpPr>
          <p:nvPr/>
        </p:nvSpPr>
        <p:spPr>
          <a:xfrm>
            <a:off x="11585204" y="1152277"/>
            <a:ext cx="2351313" cy="30024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endParaRPr lang="ru-RU" sz="1200" kern="0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: скругленные углы 24">
            <a:extLst>
              <a:ext uri="{FF2B5EF4-FFF2-40B4-BE49-F238E27FC236}">
                <a16:creationId xmlns:a16="http://schemas.microsoft.com/office/drawing/2014/main" id="{EE444366-BC8A-4F59-B08A-A8996F5D8B31}"/>
              </a:ext>
            </a:extLst>
          </p:cNvPr>
          <p:cNvSpPr/>
          <p:nvPr/>
        </p:nvSpPr>
        <p:spPr bwMode="auto">
          <a:xfrm>
            <a:off x="11409218" y="523793"/>
            <a:ext cx="2316954" cy="507322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7C32087E-D7EB-40F9-BB7D-984AB4E5ABAA}"/>
              </a:ext>
            </a:extLst>
          </p:cNvPr>
          <p:cNvSpPr txBox="1">
            <a:spLocks/>
          </p:cNvSpPr>
          <p:nvPr/>
        </p:nvSpPr>
        <p:spPr>
          <a:xfrm>
            <a:off x="6338184" y="1298634"/>
            <a:ext cx="1705465" cy="15388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 lang="ru-RU" sz="1000" smtClean="0"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dirty="0">
                <a:solidFill>
                  <a:srgbClr val="00313C"/>
                </a:solidFill>
              </a:rPr>
              <a:t>Психолог компании СИБУР</a:t>
            </a: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08B42C31-16A4-4F5C-820F-F51C8D75B871}"/>
              </a:ext>
            </a:extLst>
          </p:cNvPr>
          <p:cNvSpPr txBox="1">
            <a:spLocks/>
          </p:cNvSpPr>
          <p:nvPr/>
        </p:nvSpPr>
        <p:spPr>
          <a:xfrm>
            <a:off x="6338184" y="343320"/>
            <a:ext cx="1834614" cy="83099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ru-RU"/>
            </a:defPPr>
            <a:lvl1pPr defTabSz="914400" fontAlgn="base">
              <a:spcBef>
                <a:spcPct val="0"/>
              </a:spcBef>
              <a:spcAft>
                <a:spcPct val="0"/>
              </a:spcAft>
              <a:defRPr sz="1800" b="1" kern="0">
                <a:gradFill flip="none" rotWithShape="1">
                  <a:gsLst>
                    <a:gs pos="0">
                      <a:srgbClr val="80F5D9"/>
                    </a:gs>
                    <a:gs pos="61000">
                      <a:srgbClr val="008C95"/>
                    </a:gs>
                  </a:gsLst>
                  <a:lin ang="13500000" scaled="1"/>
                  <a:tileRect/>
                </a:gra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dirty="0" err="1"/>
              <a:t>Митичкина</a:t>
            </a:r>
            <a:r>
              <a:rPr lang="ru-RU" dirty="0"/>
              <a:t> Мария Александровна</a:t>
            </a:r>
          </a:p>
        </p:txBody>
      </p:sp>
      <p:sp>
        <p:nvSpPr>
          <p:cNvPr id="22" name="Прямоугольник: скругленные углы 21">
            <a:extLst>
              <a:ext uri="{FF2B5EF4-FFF2-40B4-BE49-F238E27FC236}">
                <a16:creationId xmlns:a16="http://schemas.microsoft.com/office/drawing/2014/main" id="{5D6ED9B3-6CDE-40EA-A399-3B7DB77A0A7B}"/>
              </a:ext>
            </a:extLst>
          </p:cNvPr>
          <p:cNvSpPr/>
          <p:nvPr/>
        </p:nvSpPr>
        <p:spPr bwMode="auto">
          <a:xfrm>
            <a:off x="11409218" y="1098874"/>
            <a:ext cx="2316954" cy="300245"/>
          </a:xfrm>
          <a:prstGeom prst="roundRect">
            <a:avLst/>
          </a:prstGeom>
          <a:noFill/>
          <a:ln w="12700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188FCCC-3768-CB21-80EB-5CF35C998A2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61429" y="5268985"/>
            <a:ext cx="1104900" cy="110490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4D42A3B4-BCB3-4398-1253-3101461F329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801987" y="7032096"/>
            <a:ext cx="1104900" cy="1104900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E88FBADB-FBB5-C43F-FCA7-E8DB0D775E6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99139" y="5428380"/>
            <a:ext cx="1104900" cy="1104900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470B7FAE-8A7D-44A4-77D4-AE681688AD76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502453" y="6707196"/>
            <a:ext cx="1104900" cy="1104900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9399BE3A-BFF2-A014-884F-FA9B4D9AE9E6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04241" y="6216915"/>
            <a:ext cx="1104900" cy="1104900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6B4CAFD4-5EFC-AD5A-573B-5824E5BFE051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73044" y="376238"/>
            <a:ext cx="1076284" cy="1076284"/>
          </a:xfrm>
          <a:prstGeom prst="roundRect">
            <a:avLst>
              <a:gd name="adj" fmla="val 0"/>
            </a:avLst>
          </a:prstGeom>
        </p:spPr>
      </p:pic>
      <p:sp>
        <p:nvSpPr>
          <p:cNvPr id="32" name="Заголовок 1">
            <a:extLst>
              <a:ext uri="{FF2B5EF4-FFF2-40B4-BE49-F238E27FC236}">
                <a16:creationId xmlns:a16="http://schemas.microsoft.com/office/drawing/2014/main" id="{D3ADB4E8-3765-BE7D-9CE6-FA21E5F7EE54}"/>
              </a:ext>
            </a:extLst>
          </p:cNvPr>
          <p:cNvSpPr txBox="1">
            <a:spLocks/>
          </p:cNvSpPr>
          <p:nvPr/>
        </p:nvSpPr>
        <p:spPr>
          <a:xfrm>
            <a:off x="2414549" y="3345163"/>
            <a:ext cx="1821804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ts val="0"/>
              </a:spcBef>
              <a:spcAft>
                <a:spcPts val="1000"/>
              </a:spcAft>
            </a:pPr>
            <a:r>
              <a:rPr lang="ru-RU" sz="900" dirty="0">
                <a:solidFill>
                  <a:srgbClr val="00313C"/>
                </a:solidFill>
              </a:rPr>
              <a:t>корпоративного уровня в качестве спикера конференций</a:t>
            </a: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872BD58E-2131-CC61-D120-C527CC34061D}"/>
              </a:ext>
            </a:extLst>
          </p:cNvPr>
          <p:cNvSpPr txBox="1">
            <a:spLocks/>
          </p:cNvSpPr>
          <p:nvPr/>
        </p:nvSpPr>
        <p:spPr>
          <a:xfrm>
            <a:off x="438331" y="1844174"/>
            <a:ext cx="757043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ts val="0"/>
              </a:spcBef>
              <a:spcAft>
                <a:spcPts val="1000"/>
              </a:spcAft>
            </a:pPr>
            <a:r>
              <a:rPr lang="ru-RU" sz="2000" b="1" dirty="0"/>
              <a:t>3</a:t>
            </a:r>
            <a:r>
              <a:rPr lang="en-US" sz="2000" b="1" dirty="0"/>
              <a:t>8</a:t>
            </a:r>
            <a:r>
              <a:rPr lang="ru-RU" sz="1400" b="1" dirty="0"/>
              <a:t> </a:t>
            </a:r>
            <a:r>
              <a:rPr lang="ru-RU" sz="1400" dirty="0"/>
              <a:t>лет</a:t>
            </a:r>
            <a:endParaRPr lang="ru-RU" sz="900" dirty="0"/>
          </a:p>
        </p:txBody>
      </p:sp>
      <p:sp>
        <p:nvSpPr>
          <p:cNvPr id="34" name="Заголовок 1">
            <a:extLst>
              <a:ext uri="{FF2B5EF4-FFF2-40B4-BE49-F238E27FC236}">
                <a16:creationId xmlns:a16="http://schemas.microsoft.com/office/drawing/2014/main" id="{413CC3F8-5C4C-0FFB-721A-64A118E9C3A6}"/>
              </a:ext>
            </a:extLst>
          </p:cNvPr>
          <p:cNvSpPr txBox="1">
            <a:spLocks/>
          </p:cNvSpPr>
          <p:nvPr/>
        </p:nvSpPr>
        <p:spPr>
          <a:xfrm>
            <a:off x="2410601" y="2229154"/>
            <a:ext cx="1794446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ts val="0"/>
              </a:spcBef>
              <a:spcAft>
                <a:spcPts val="1000"/>
              </a:spcAft>
            </a:pPr>
            <a:r>
              <a:rPr lang="ru-RU" sz="900" dirty="0">
                <a:solidFill>
                  <a:srgbClr val="00313C"/>
                </a:solidFill>
              </a:rPr>
              <a:t>руководителей Компании среднего звена и сотрудников уровня функциональных директоров</a:t>
            </a:r>
          </a:p>
        </p:txBody>
      </p:sp>
      <p:sp>
        <p:nvSpPr>
          <p:cNvPr id="36" name="Заголовок 1">
            <a:extLst>
              <a:ext uri="{FF2B5EF4-FFF2-40B4-BE49-F238E27FC236}">
                <a16:creationId xmlns:a16="http://schemas.microsoft.com/office/drawing/2014/main" id="{A6FC102C-99CC-E07F-1A64-684257D023DA}"/>
              </a:ext>
            </a:extLst>
          </p:cNvPr>
          <p:cNvSpPr txBox="1">
            <a:spLocks/>
          </p:cNvSpPr>
          <p:nvPr/>
        </p:nvSpPr>
        <p:spPr>
          <a:xfrm>
            <a:off x="2410601" y="1844174"/>
            <a:ext cx="1496286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defTabSz="914400" fontAlgn="base">
              <a:spcBef>
                <a:spcPts val="0"/>
              </a:spcBef>
              <a:spcAft>
                <a:spcPts val="1000"/>
              </a:spcAft>
              <a:defRPr sz="1400" b="1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en-US" sz="2000" dirty="0"/>
              <a:t>40</a:t>
            </a:r>
            <a:r>
              <a:rPr lang="ru-RU" dirty="0"/>
              <a:t> </a:t>
            </a:r>
            <a:r>
              <a:rPr lang="ru-RU" b="0" dirty="0"/>
              <a:t>подопечных,</a:t>
            </a:r>
          </a:p>
        </p:txBody>
      </p:sp>
      <p:sp>
        <p:nvSpPr>
          <p:cNvPr id="37" name="Заголовок 1">
            <a:extLst>
              <a:ext uri="{FF2B5EF4-FFF2-40B4-BE49-F238E27FC236}">
                <a16:creationId xmlns:a16="http://schemas.microsoft.com/office/drawing/2014/main" id="{38E94F01-345D-D252-1FA5-65BFEF24F3EC}"/>
              </a:ext>
            </a:extLst>
          </p:cNvPr>
          <p:cNvSpPr txBox="1">
            <a:spLocks/>
          </p:cNvSpPr>
          <p:nvPr/>
        </p:nvSpPr>
        <p:spPr>
          <a:xfrm>
            <a:off x="431800" y="3345163"/>
            <a:ext cx="4152612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ts val="0"/>
              </a:spcBef>
              <a:spcAft>
                <a:spcPts val="1000"/>
              </a:spcAft>
            </a:pPr>
            <a:r>
              <a:rPr lang="ru-RU" sz="900" dirty="0">
                <a:solidFill>
                  <a:srgbClr val="00313C"/>
                </a:solidFill>
              </a:rPr>
              <a:t>коучинга и </a:t>
            </a:r>
            <a:r>
              <a:rPr lang="ru-RU" sz="900" dirty="0" err="1">
                <a:solidFill>
                  <a:srgbClr val="00313C"/>
                </a:solidFill>
              </a:rPr>
              <a:t>менторинга</a:t>
            </a:r>
            <a:endParaRPr lang="ru-RU" sz="900" dirty="0">
              <a:solidFill>
                <a:srgbClr val="00313C"/>
              </a:solidFill>
            </a:endParaRPr>
          </a:p>
        </p:txBody>
      </p:sp>
      <p:sp>
        <p:nvSpPr>
          <p:cNvPr id="38" name="Заголовок 1">
            <a:extLst>
              <a:ext uri="{FF2B5EF4-FFF2-40B4-BE49-F238E27FC236}">
                <a16:creationId xmlns:a16="http://schemas.microsoft.com/office/drawing/2014/main" id="{D38D3D5D-8E08-E251-DDBA-3D948A185985}"/>
              </a:ext>
            </a:extLst>
          </p:cNvPr>
          <p:cNvSpPr txBox="1">
            <a:spLocks/>
          </p:cNvSpPr>
          <p:nvPr/>
        </p:nvSpPr>
        <p:spPr>
          <a:xfrm>
            <a:off x="438331" y="2960166"/>
            <a:ext cx="1341849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ts val="0"/>
              </a:spcBef>
              <a:spcAft>
                <a:spcPts val="1000"/>
              </a:spcAft>
            </a:pPr>
            <a:r>
              <a:rPr lang="en-US" sz="2000" b="1" dirty="0"/>
              <a:t>1017</a:t>
            </a:r>
            <a:r>
              <a:rPr lang="ru-RU" sz="1400" b="1" dirty="0"/>
              <a:t> </a:t>
            </a:r>
            <a:r>
              <a:rPr lang="ru-RU" sz="1400" dirty="0"/>
              <a:t>часов</a:t>
            </a:r>
            <a:endParaRPr lang="ru-RU" sz="900" dirty="0"/>
          </a:p>
        </p:txBody>
      </p:sp>
      <p:sp>
        <p:nvSpPr>
          <p:cNvPr id="39" name="Заголовок 1">
            <a:extLst>
              <a:ext uri="{FF2B5EF4-FFF2-40B4-BE49-F238E27FC236}">
                <a16:creationId xmlns:a16="http://schemas.microsoft.com/office/drawing/2014/main" id="{5C11764C-5A02-2226-0303-6966C633CCD5}"/>
              </a:ext>
            </a:extLst>
          </p:cNvPr>
          <p:cNvSpPr txBox="1">
            <a:spLocks/>
          </p:cNvSpPr>
          <p:nvPr/>
        </p:nvSpPr>
        <p:spPr>
          <a:xfrm>
            <a:off x="435655" y="4115212"/>
            <a:ext cx="1792156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ts val="0"/>
              </a:spcBef>
              <a:spcAft>
                <a:spcPts val="1000"/>
              </a:spcAft>
            </a:pPr>
            <a:r>
              <a:rPr lang="ru-RU" sz="900" kern="0" dirty="0">
                <a:solidFill>
                  <a:srgbClr val="00313C"/>
                </a:solidFill>
              </a:rPr>
              <a:t>сертифицированный коуч по международному стандарту </a:t>
            </a:r>
            <a:r>
              <a:rPr lang="en-US" sz="900" kern="0">
                <a:solidFill>
                  <a:srgbClr val="00313C"/>
                </a:solidFill>
              </a:rPr>
              <a:t>ICF (International University “Global Coaching”)</a:t>
            </a:r>
            <a:endParaRPr lang="ru-RU" sz="1050" kern="0" dirty="0">
              <a:solidFill>
                <a:srgbClr val="00313C"/>
              </a:solidFill>
            </a:endParaRPr>
          </a:p>
        </p:txBody>
      </p:sp>
      <p:sp>
        <p:nvSpPr>
          <p:cNvPr id="40" name="Заголовок 1">
            <a:extLst>
              <a:ext uri="{FF2B5EF4-FFF2-40B4-BE49-F238E27FC236}">
                <a16:creationId xmlns:a16="http://schemas.microsoft.com/office/drawing/2014/main" id="{F7D422A4-4A20-51AF-CDB4-66738BF8F2E9}"/>
              </a:ext>
            </a:extLst>
          </p:cNvPr>
          <p:cNvSpPr txBox="1">
            <a:spLocks/>
          </p:cNvSpPr>
          <p:nvPr/>
        </p:nvSpPr>
        <p:spPr>
          <a:xfrm>
            <a:off x="2391641" y="2960166"/>
            <a:ext cx="1683504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ts val="0"/>
              </a:spcBef>
              <a:spcAft>
                <a:spcPts val="1000"/>
              </a:spcAft>
            </a:pPr>
            <a:r>
              <a:rPr lang="ru-RU" sz="2000" b="1" dirty="0"/>
              <a:t>30+ </a:t>
            </a:r>
            <a:r>
              <a:rPr lang="ru-RU" sz="1400" dirty="0"/>
              <a:t>конференций</a:t>
            </a:r>
            <a:endParaRPr lang="ru-RU" sz="900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0A33416-38CB-218B-7928-66BBF528DA3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5513" y="-2759160"/>
            <a:ext cx="4211861" cy="2382467"/>
          </a:xfrm>
          <a:prstGeom prst="rect">
            <a:avLst/>
          </a:prstGeom>
        </p:spPr>
      </p:pic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5C9892BC-BC39-7D7A-A414-0F35AC1E6B3A}"/>
              </a:ext>
            </a:extLst>
          </p:cNvPr>
          <p:cNvCxnSpPr/>
          <p:nvPr/>
        </p:nvCxnSpPr>
        <p:spPr bwMode="auto">
          <a:xfrm>
            <a:off x="1800336" y="1203325"/>
            <a:ext cx="203207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Заголовок 1">
            <a:extLst>
              <a:ext uri="{FF2B5EF4-FFF2-40B4-BE49-F238E27FC236}">
                <a16:creationId xmlns:a16="http://schemas.microsoft.com/office/drawing/2014/main" id="{192540B1-9EA0-F117-4D95-FE3BDDCE1BEA}"/>
              </a:ext>
            </a:extLst>
          </p:cNvPr>
          <p:cNvSpPr txBox="1">
            <a:spLocks/>
          </p:cNvSpPr>
          <p:nvPr/>
        </p:nvSpPr>
        <p:spPr>
          <a:xfrm>
            <a:off x="2392150" y="4115212"/>
            <a:ext cx="1720879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ts val="0"/>
              </a:spcBef>
              <a:spcAft>
                <a:spcPts val="1000"/>
              </a:spcAft>
            </a:pPr>
            <a:r>
              <a:rPr lang="ru-RU" sz="900" kern="0" dirty="0">
                <a:solidFill>
                  <a:srgbClr val="00313C"/>
                </a:solidFill>
              </a:rPr>
              <a:t>Член Экспертного совета АМК «Национальная Федерация профессиональных менторов </a:t>
            </a:r>
            <a:br>
              <a:rPr lang="ru-RU" sz="900" kern="0" dirty="0">
                <a:solidFill>
                  <a:srgbClr val="00313C"/>
                </a:solidFill>
              </a:rPr>
            </a:br>
            <a:r>
              <a:rPr lang="ru-RU" sz="900" kern="0" dirty="0">
                <a:solidFill>
                  <a:srgbClr val="00313C"/>
                </a:solidFill>
              </a:rPr>
              <a:t>и коучей»</a:t>
            </a:r>
            <a:endParaRPr lang="ru-RU" sz="1050" kern="0" dirty="0">
              <a:solidFill>
                <a:srgbClr val="00313C"/>
              </a:solidFill>
            </a:endParaRPr>
          </a:p>
        </p:txBody>
      </p:sp>
      <p:sp>
        <p:nvSpPr>
          <p:cNvPr id="42" name="Заголовок 1">
            <a:extLst>
              <a:ext uri="{FF2B5EF4-FFF2-40B4-BE49-F238E27FC236}">
                <a16:creationId xmlns:a16="http://schemas.microsoft.com/office/drawing/2014/main" id="{279BBAF1-7C16-FF4F-7CBB-7BAA4C02C212}"/>
              </a:ext>
            </a:extLst>
          </p:cNvPr>
          <p:cNvSpPr txBox="1">
            <a:spLocks/>
          </p:cNvSpPr>
          <p:nvPr/>
        </p:nvSpPr>
        <p:spPr>
          <a:xfrm>
            <a:off x="438331" y="3737655"/>
            <a:ext cx="1257465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ts val="0"/>
              </a:spcBef>
              <a:spcAft>
                <a:spcPts val="1000"/>
              </a:spcAft>
            </a:pPr>
            <a:r>
              <a:rPr lang="ru-RU" sz="2000" dirty="0"/>
              <a:t>с </a:t>
            </a:r>
            <a:r>
              <a:rPr lang="ru-RU" sz="2000" b="1" dirty="0"/>
              <a:t>2019</a:t>
            </a:r>
            <a:r>
              <a:rPr lang="ru-RU" sz="1400" dirty="0"/>
              <a:t> г. </a:t>
            </a:r>
          </a:p>
        </p:txBody>
      </p: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70D39FC4-847B-4036-93AB-54C388273686}"/>
              </a:ext>
            </a:extLst>
          </p:cNvPr>
          <p:cNvCxnSpPr/>
          <p:nvPr/>
        </p:nvCxnSpPr>
        <p:spPr bwMode="auto">
          <a:xfrm>
            <a:off x="437049" y="2168172"/>
            <a:ext cx="7428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73C21014-889C-E870-29E0-58D5B6F12532}"/>
              </a:ext>
            </a:extLst>
          </p:cNvPr>
          <p:cNvCxnSpPr/>
          <p:nvPr/>
        </p:nvCxnSpPr>
        <p:spPr bwMode="auto">
          <a:xfrm>
            <a:off x="437049" y="3295235"/>
            <a:ext cx="100626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id="{9714C739-CA9C-F3C8-2C04-3CCF1A3F842B}"/>
              </a:ext>
            </a:extLst>
          </p:cNvPr>
          <p:cNvCxnSpPr/>
          <p:nvPr/>
        </p:nvCxnSpPr>
        <p:spPr bwMode="auto">
          <a:xfrm>
            <a:off x="437049" y="4054590"/>
            <a:ext cx="100626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id="{EFB1AAEB-1E18-7E15-831B-DDFBE3427CBD}"/>
              </a:ext>
            </a:extLst>
          </p:cNvPr>
          <p:cNvCxnSpPr/>
          <p:nvPr/>
        </p:nvCxnSpPr>
        <p:spPr bwMode="auto">
          <a:xfrm>
            <a:off x="2395828" y="2168172"/>
            <a:ext cx="141668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id="{7F8B006F-D3C0-67EF-3977-8EAFF1ACA408}"/>
              </a:ext>
            </a:extLst>
          </p:cNvPr>
          <p:cNvCxnSpPr/>
          <p:nvPr/>
        </p:nvCxnSpPr>
        <p:spPr bwMode="auto">
          <a:xfrm>
            <a:off x="2395828" y="3295235"/>
            <a:ext cx="167931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7F06BF9F-017C-9820-3266-F10F1B6B6B0E}"/>
              </a:ext>
            </a:extLst>
          </p:cNvPr>
          <p:cNvCxnSpPr/>
          <p:nvPr/>
        </p:nvCxnSpPr>
        <p:spPr bwMode="auto">
          <a:xfrm>
            <a:off x="2395828" y="4054590"/>
            <a:ext cx="100626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D95F1785-5187-2C7D-6A3C-E8172B3C35DB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1641" y="3800142"/>
            <a:ext cx="252996" cy="193700"/>
          </a:xfrm>
          <a:prstGeom prst="rect">
            <a:avLst/>
          </a:prstGeom>
        </p:spPr>
      </p:pic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id="{BCF7A9D7-E06C-4F3D-E6AE-F2343F0F974A}"/>
              </a:ext>
            </a:extLst>
          </p:cNvPr>
          <p:cNvCxnSpPr>
            <a:cxnSpLocks/>
          </p:cNvCxnSpPr>
          <p:nvPr/>
        </p:nvCxnSpPr>
        <p:spPr bwMode="auto">
          <a:xfrm>
            <a:off x="6338184" y="1203325"/>
            <a:ext cx="203207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595873A7-2396-365E-B527-EBBF747626C7}"/>
              </a:ext>
            </a:extLst>
          </p:cNvPr>
          <p:cNvCxnSpPr>
            <a:cxnSpLocks/>
          </p:cNvCxnSpPr>
          <p:nvPr/>
        </p:nvCxnSpPr>
        <p:spPr bwMode="auto">
          <a:xfrm>
            <a:off x="6921360" y="3639444"/>
            <a:ext cx="82840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0F5D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01B51660-1E3F-D0D0-6039-B9D0EDA84067}"/>
              </a:ext>
            </a:extLst>
          </p:cNvPr>
          <p:cNvSpPr txBox="1">
            <a:spLocks/>
          </p:cNvSpPr>
          <p:nvPr/>
        </p:nvSpPr>
        <p:spPr>
          <a:xfrm>
            <a:off x="4969411" y="2229154"/>
            <a:ext cx="1718949" cy="54373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1450" indent="-171450" defTabSz="91440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ru-RU" sz="900" b="1" dirty="0"/>
              <a:t>Снятие </a:t>
            </a:r>
            <a:r>
              <a:rPr lang="ru-RU" sz="900" dirty="0">
                <a:solidFill>
                  <a:srgbClr val="00313C"/>
                </a:solidFill>
              </a:rPr>
              <a:t>стресса</a:t>
            </a:r>
          </a:p>
          <a:p>
            <a:pPr marL="171450" indent="-171450" defTabSz="91440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ru-RU" sz="900" b="1" dirty="0"/>
              <a:t>Профилактика </a:t>
            </a:r>
            <a:r>
              <a:rPr lang="ru-RU" sz="900" dirty="0">
                <a:solidFill>
                  <a:srgbClr val="00313C"/>
                </a:solidFill>
              </a:rPr>
              <a:t>выгорания</a:t>
            </a:r>
          </a:p>
          <a:p>
            <a:pPr marL="171450" indent="-171450" defTabSz="91440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ru-RU" sz="900" b="1" dirty="0"/>
              <a:t>Психологическая </a:t>
            </a:r>
            <a:r>
              <a:rPr lang="ru-RU" sz="900" dirty="0">
                <a:solidFill>
                  <a:srgbClr val="00313C"/>
                </a:solidFill>
              </a:rPr>
              <a:t>разгрузка</a:t>
            </a:r>
            <a:endParaRPr lang="ru-RU" sz="1050" kern="0" dirty="0">
              <a:solidFill>
                <a:srgbClr val="00313C"/>
              </a:solidFill>
            </a:endParaRPr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6ABA590A-B80E-2B93-22E0-2C46DA83B4BF}"/>
              </a:ext>
            </a:extLst>
          </p:cNvPr>
          <p:cNvSpPr txBox="1">
            <a:spLocks/>
          </p:cNvSpPr>
          <p:nvPr/>
        </p:nvSpPr>
        <p:spPr>
          <a:xfrm>
            <a:off x="4969411" y="1721064"/>
            <a:ext cx="1951949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defTabSz="914400" fontAlgn="base">
              <a:spcBef>
                <a:spcPts val="0"/>
              </a:spcBef>
              <a:spcAft>
                <a:spcPts val="1000"/>
              </a:spcAft>
              <a:defRPr sz="1400" b="1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dirty="0"/>
              <a:t>Основные</a:t>
            </a:r>
            <a:r>
              <a:rPr lang="ru-RU" b="0" dirty="0"/>
              <a:t> направления работы</a:t>
            </a:r>
          </a:p>
        </p:txBody>
      </p:sp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9FFAA338-437B-EA26-D5FD-4B05E4CE2196}"/>
              </a:ext>
            </a:extLst>
          </p:cNvPr>
          <p:cNvSpPr txBox="1">
            <a:spLocks/>
          </p:cNvSpPr>
          <p:nvPr/>
        </p:nvSpPr>
        <p:spPr>
          <a:xfrm>
            <a:off x="4969411" y="3369466"/>
            <a:ext cx="1341849" cy="2154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defTabSz="914400" fontAlgn="base">
              <a:spcBef>
                <a:spcPts val="0"/>
              </a:spcBef>
              <a:spcAft>
                <a:spcPts val="1000"/>
              </a:spcAft>
              <a:defRPr sz="1400" b="1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dirty="0"/>
              <a:t>Образование:</a:t>
            </a: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BE6CDAAA-C6DC-E14D-D9DE-30CD64E4DA88}"/>
              </a:ext>
            </a:extLst>
          </p:cNvPr>
          <p:cNvSpPr txBox="1">
            <a:spLocks/>
          </p:cNvSpPr>
          <p:nvPr/>
        </p:nvSpPr>
        <p:spPr>
          <a:xfrm>
            <a:off x="6921360" y="3716349"/>
            <a:ext cx="153007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ts val="0"/>
              </a:spcBef>
              <a:spcAft>
                <a:spcPts val="1000"/>
              </a:spcAft>
            </a:pPr>
            <a:r>
              <a:rPr lang="ru-RU" sz="900" dirty="0">
                <a:solidFill>
                  <a:srgbClr val="00313C"/>
                </a:solidFill>
              </a:rPr>
              <a:t>Успешно применяю </a:t>
            </a:r>
            <a:br>
              <a:rPr lang="ru-RU" sz="900" dirty="0">
                <a:solidFill>
                  <a:srgbClr val="00313C"/>
                </a:solidFill>
              </a:rPr>
            </a:br>
            <a:r>
              <a:rPr lang="ru-RU" sz="900" dirty="0">
                <a:solidFill>
                  <a:srgbClr val="00313C"/>
                </a:solidFill>
              </a:rPr>
              <a:t>в работе практики и техники </a:t>
            </a:r>
            <a:br>
              <a:rPr lang="ru-RU" sz="900" dirty="0">
                <a:solidFill>
                  <a:srgbClr val="00313C"/>
                </a:solidFill>
              </a:rPr>
            </a:br>
            <a:r>
              <a:rPr lang="ru-RU" sz="900" dirty="0">
                <a:solidFill>
                  <a:srgbClr val="00313C"/>
                </a:solidFill>
              </a:rPr>
              <a:t>по снятию стресса, тревоги, психологических блоков</a:t>
            </a:r>
            <a:endParaRPr lang="ru-RU" sz="1050" kern="0" dirty="0">
              <a:solidFill>
                <a:srgbClr val="00313C"/>
              </a:solidFill>
            </a:endParaRPr>
          </a:p>
        </p:txBody>
      </p:sp>
      <p:sp>
        <p:nvSpPr>
          <p:cNvPr id="29" name="Заголовок 1">
            <a:extLst>
              <a:ext uri="{FF2B5EF4-FFF2-40B4-BE49-F238E27FC236}">
                <a16:creationId xmlns:a16="http://schemas.microsoft.com/office/drawing/2014/main" id="{85B095FA-FC3F-8D8A-3ACB-F8747227E070}"/>
              </a:ext>
            </a:extLst>
          </p:cNvPr>
          <p:cNvSpPr txBox="1">
            <a:spLocks/>
          </p:cNvSpPr>
          <p:nvPr/>
        </p:nvSpPr>
        <p:spPr>
          <a:xfrm>
            <a:off x="4969411" y="3710214"/>
            <a:ext cx="1792156" cy="89511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marL="171450" indent="-171450" defTabSz="914400" fontAlgn="base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900" b="1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dirty="0"/>
              <a:t>МГУ </a:t>
            </a:r>
            <a:br>
              <a:rPr lang="ru-RU" dirty="0"/>
            </a:br>
            <a:r>
              <a:rPr lang="ru-RU" b="0" dirty="0">
                <a:solidFill>
                  <a:srgbClr val="00313C"/>
                </a:solidFill>
              </a:rPr>
              <a:t>Психологическое </a:t>
            </a:r>
            <a:br>
              <a:rPr lang="ru-RU" b="0" dirty="0">
                <a:solidFill>
                  <a:srgbClr val="00313C"/>
                </a:solidFill>
              </a:rPr>
            </a:br>
            <a:r>
              <a:rPr lang="ru-RU" b="0" dirty="0">
                <a:solidFill>
                  <a:srgbClr val="00313C"/>
                </a:solidFill>
              </a:rPr>
              <a:t>консультирование</a:t>
            </a:r>
          </a:p>
          <a:p>
            <a:r>
              <a:rPr lang="ru-RU" dirty="0"/>
              <a:t>МГУДТ </a:t>
            </a:r>
            <a:br>
              <a:rPr lang="ru-RU" dirty="0"/>
            </a:br>
            <a:r>
              <a:rPr lang="ru-RU" b="0" dirty="0">
                <a:solidFill>
                  <a:srgbClr val="00313C"/>
                </a:solidFill>
              </a:rPr>
              <a:t>Экономика и управление </a:t>
            </a:r>
            <a:br>
              <a:rPr lang="ru-RU" b="0" dirty="0">
                <a:solidFill>
                  <a:srgbClr val="00313C"/>
                </a:solidFill>
              </a:rPr>
            </a:br>
            <a:r>
              <a:rPr lang="ru-RU" b="0" dirty="0">
                <a:solidFill>
                  <a:srgbClr val="00313C"/>
                </a:solidFill>
              </a:rPr>
              <a:t>на предприятии                 </a:t>
            </a:r>
          </a:p>
        </p:txBody>
      </p: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C612026A-E577-6967-CA55-5ECFCBCD7A76}"/>
              </a:ext>
            </a:extLst>
          </p:cNvPr>
          <p:cNvCxnSpPr>
            <a:cxnSpLocks/>
          </p:cNvCxnSpPr>
          <p:nvPr/>
        </p:nvCxnSpPr>
        <p:spPr bwMode="auto">
          <a:xfrm>
            <a:off x="4969412" y="3639444"/>
            <a:ext cx="167931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715FACF1-5FEC-4DA9-C352-E7AC4482E860}"/>
              </a:ext>
            </a:extLst>
          </p:cNvPr>
          <p:cNvCxnSpPr>
            <a:cxnSpLocks/>
          </p:cNvCxnSpPr>
          <p:nvPr/>
        </p:nvCxnSpPr>
        <p:spPr bwMode="auto">
          <a:xfrm>
            <a:off x="4969412" y="2168172"/>
            <a:ext cx="167931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55E14FB6-30F3-C0ED-0789-DCB5596AD78B}"/>
              </a:ext>
            </a:extLst>
          </p:cNvPr>
          <p:cNvSpPr txBox="1">
            <a:spLocks/>
          </p:cNvSpPr>
          <p:nvPr/>
        </p:nvSpPr>
        <p:spPr>
          <a:xfrm>
            <a:off x="6921360" y="2229154"/>
            <a:ext cx="3145390" cy="103361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marL="171450" indent="-171450" defTabSz="914400" fontAlgn="base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900" b="1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dirty="0"/>
              <a:t>МЧС</a:t>
            </a:r>
            <a:br>
              <a:rPr lang="ru-RU" dirty="0"/>
            </a:br>
            <a:r>
              <a:rPr lang="ru-RU" b="0" dirty="0">
                <a:solidFill>
                  <a:srgbClr val="00313C"/>
                </a:solidFill>
              </a:rPr>
              <a:t>Оказание экстренной </a:t>
            </a:r>
            <a:br>
              <a:rPr lang="ru-RU" b="0" dirty="0">
                <a:solidFill>
                  <a:srgbClr val="00313C"/>
                </a:solidFill>
              </a:rPr>
            </a:br>
            <a:r>
              <a:rPr lang="ru-RU" b="0" dirty="0">
                <a:solidFill>
                  <a:srgbClr val="00313C"/>
                </a:solidFill>
              </a:rPr>
              <a:t>психологической помощи </a:t>
            </a:r>
            <a:br>
              <a:rPr lang="ru-RU" b="0" dirty="0">
                <a:solidFill>
                  <a:srgbClr val="00313C"/>
                </a:solidFill>
              </a:rPr>
            </a:br>
            <a:r>
              <a:rPr lang="ru-RU" b="0" dirty="0">
                <a:solidFill>
                  <a:srgbClr val="00313C"/>
                </a:solidFill>
              </a:rPr>
              <a:t>пострадавшим в чрезвычайных </a:t>
            </a:r>
            <a:br>
              <a:rPr lang="ru-RU" b="0" dirty="0">
                <a:solidFill>
                  <a:srgbClr val="00313C"/>
                </a:solidFill>
              </a:rPr>
            </a:br>
            <a:r>
              <a:rPr lang="ru-RU" b="0" dirty="0">
                <a:solidFill>
                  <a:srgbClr val="00313C"/>
                </a:solidFill>
              </a:rPr>
              <a:t>ситуациях</a:t>
            </a:r>
          </a:p>
          <a:p>
            <a:r>
              <a:rPr lang="ru-RU" dirty="0"/>
              <a:t>Когнитивно-поведенческая </a:t>
            </a:r>
            <a:br>
              <a:rPr lang="ru-RU" dirty="0"/>
            </a:br>
            <a:r>
              <a:rPr lang="ru-RU" dirty="0"/>
              <a:t>терапия</a:t>
            </a: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645EA273-1FC7-141E-396D-3A2D279E43DD}"/>
              </a:ext>
            </a:extLst>
          </p:cNvPr>
          <p:cNvSpPr txBox="1">
            <a:spLocks/>
          </p:cNvSpPr>
          <p:nvPr/>
        </p:nvSpPr>
        <p:spPr>
          <a:xfrm>
            <a:off x="6921360" y="1721064"/>
            <a:ext cx="2462941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defTabSz="914400" fontAlgn="base">
              <a:spcBef>
                <a:spcPts val="0"/>
              </a:spcBef>
              <a:spcAft>
                <a:spcPts val="1000"/>
              </a:spcAft>
              <a:defRPr sz="1400" b="1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dirty="0"/>
              <a:t>Дополнительные </a:t>
            </a:r>
            <a:r>
              <a:rPr lang="ru-RU" b="0" dirty="0"/>
              <a:t>специализации:</a:t>
            </a:r>
          </a:p>
        </p:txBody>
      </p:sp>
      <p:cxnSp>
        <p:nvCxnSpPr>
          <p:cNvPr id="53" name="Прямая соединительная линия 52">
            <a:extLst>
              <a:ext uri="{FF2B5EF4-FFF2-40B4-BE49-F238E27FC236}">
                <a16:creationId xmlns:a16="http://schemas.microsoft.com/office/drawing/2014/main" id="{3F219AF1-608B-880E-A340-437748910FB4}"/>
              </a:ext>
            </a:extLst>
          </p:cNvPr>
          <p:cNvCxnSpPr>
            <a:cxnSpLocks/>
          </p:cNvCxnSpPr>
          <p:nvPr/>
        </p:nvCxnSpPr>
        <p:spPr bwMode="auto">
          <a:xfrm>
            <a:off x="6899812" y="2168172"/>
            <a:ext cx="167931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D5E479F5-6E6F-C639-5BC9-6E0D0542EE0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0849" y="3349921"/>
            <a:ext cx="292308" cy="292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4947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: скругленные углы 8">
            <a:extLst>
              <a:ext uri="{FF2B5EF4-FFF2-40B4-BE49-F238E27FC236}">
                <a16:creationId xmlns:a16="http://schemas.microsoft.com/office/drawing/2014/main" id="{F4886E82-FEEC-846C-03FD-9C29541D1895}"/>
              </a:ext>
            </a:extLst>
          </p:cNvPr>
          <p:cNvSpPr/>
          <p:nvPr/>
        </p:nvSpPr>
        <p:spPr bwMode="auto">
          <a:xfrm flipH="1">
            <a:off x="-4" y="0"/>
            <a:ext cx="4572004" cy="5161346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/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CC5C8E88-C345-3558-3115-BCD6047067F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609916" y="3767321"/>
            <a:ext cx="891992" cy="891992"/>
          </a:xfrm>
          <a:prstGeom prst="rect">
            <a:avLst/>
          </a:prstGeom>
        </p:spPr>
      </p:pic>
      <p:sp>
        <p:nvSpPr>
          <p:cNvPr id="28" name="Скругленный прямоугольник 27">
            <a:extLst>
              <a:ext uri="{FF2B5EF4-FFF2-40B4-BE49-F238E27FC236}">
                <a16:creationId xmlns:a16="http://schemas.microsoft.com/office/drawing/2014/main" id="{A993506E-AC09-A871-6F3B-76D512076634}"/>
              </a:ext>
            </a:extLst>
          </p:cNvPr>
          <p:cNvSpPr/>
          <p:nvPr/>
        </p:nvSpPr>
        <p:spPr bwMode="auto">
          <a:xfrm>
            <a:off x="328398" y="5922214"/>
            <a:ext cx="1728000" cy="1728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023FA83B-E0FE-43EC-828B-162B6FADFB8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3920" y="5255974"/>
            <a:ext cx="1636414" cy="1183692"/>
          </a:xfrm>
          <a:prstGeom prst="rect">
            <a:avLst/>
          </a:prstGeom>
        </p:spPr>
      </p:pic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40BF5D06-0B0F-4A21-953F-3C24ED942A44}"/>
              </a:ext>
            </a:extLst>
          </p:cNvPr>
          <p:cNvSpPr txBox="1">
            <a:spLocks/>
          </p:cNvSpPr>
          <p:nvPr/>
        </p:nvSpPr>
        <p:spPr>
          <a:xfrm>
            <a:off x="431800" y="242570"/>
            <a:ext cx="3882142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3200" b="1" dirty="0">
                <a:solidFill>
                  <a:schemeClr val="bg1"/>
                </a:solidFill>
              </a:rPr>
              <a:t>Что делать? </a:t>
            </a: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12B15461-CCB5-FA6A-D140-84D7FA2D7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775" y="-598092"/>
            <a:ext cx="8636400" cy="5292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0F28EFE-FC3F-97A4-2C6F-DFA305E3FB2B}"/>
              </a:ext>
            </a:extLst>
          </p:cNvPr>
          <p:cNvSpPr txBox="1">
            <a:spLocks/>
          </p:cNvSpPr>
          <p:nvPr/>
        </p:nvSpPr>
        <p:spPr>
          <a:xfrm>
            <a:off x="431800" y="1123139"/>
            <a:ext cx="2947504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2000" dirty="0">
                <a:solidFill>
                  <a:schemeClr val="bg1"/>
                </a:solidFill>
              </a:rPr>
              <a:t>Как не попасть </a:t>
            </a:r>
            <a:br>
              <a:rPr lang="ru-RU" sz="2000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в капкан </a:t>
            </a:r>
            <a:r>
              <a:rPr lang="ru-RU" sz="2000" b="1" dirty="0">
                <a:solidFill>
                  <a:schemeClr val="bg1"/>
                </a:solidFill>
              </a:rPr>
              <a:t>«Текучка» </a:t>
            </a:r>
            <a:br>
              <a:rPr lang="ru-RU" sz="2000" b="1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или выбраться из него?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7AE754AF-78DB-F3E9-205E-532594E3A6FE}"/>
              </a:ext>
            </a:extLst>
          </p:cNvPr>
          <p:cNvSpPr txBox="1">
            <a:spLocks/>
          </p:cNvSpPr>
          <p:nvPr/>
        </p:nvSpPr>
        <p:spPr>
          <a:xfrm>
            <a:off x="5003805" y="2126818"/>
            <a:ext cx="3073395" cy="96436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defTabSz="914400" fontAlgn="base">
              <a:spcBef>
                <a:spcPct val="0"/>
              </a:spcBef>
              <a:spcAft>
                <a:spcPct val="0"/>
              </a:spcAft>
              <a:defRPr sz="2000" kern="0">
                <a:solidFill>
                  <a:srgbClr val="00313C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pPr>
              <a:spcAft>
                <a:spcPts val="800"/>
              </a:spcAft>
            </a:pPr>
            <a:r>
              <a:rPr lang="ru-RU" sz="1400" dirty="0"/>
              <a:t>Вдохновение к новаторству, поиску творческих решений на работе.</a:t>
            </a:r>
          </a:p>
          <a:p>
            <a:pPr>
              <a:spcAft>
                <a:spcPts val="800"/>
              </a:spcAft>
            </a:pPr>
            <a:r>
              <a:rPr lang="ru-RU" sz="1400" dirty="0"/>
              <a:t>Выполнение прежней работы новыми способами.</a:t>
            </a: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65AF3938-F055-8195-350C-10D397F92948}"/>
              </a:ext>
            </a:extLst>
          </p:cNvPr>
          <p:cNvSpPr txBox="1">
            <a:spLocks/>
          </p:cNvSpPr>
          <p:nvPr/>
        </p:nvSpPr>
        <p:spPr>
          <a:xfrm>
            <a:off x="5003804" y="242570"/>
            <a:ext cx="2627780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3200" b="1" kern="0" dirty="0"/>
              <a:t>Решение: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4F26BE7B-03EC-B1BF-B7E4-9E4B379CEE17}"/>
              </a:ext>
            </a:extLst>
          </p:cNvPr>
          <p:cNvCxnSpPr>
            <a:cxnSpLocks/>
          </p:cNvCxnSpPr>
          <p:nvPr/>
        </p:nvCxnSpPr>
        <p:spPr bwMode="auto">
          <a:xfrm>
            <a:off x="5003805" y="1934177"/>
            <a:ext cx="307339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Прямоугольник: скругленные углы 8">
            <a:extLst>
              <a:ext uri="{FF2B5EF4-FFF2-40B4-BE49-F238E27FC236}">
                <a16:creationId xmlns:a16="http://schemas.microsoft.com/office/drawing/2014/main" id="{27DF1FCE-03F8-6512-EFFC-C197CC39D3B3}"/>
              </a:ext>
            </a:extLst>
          </p:cNvPr>
          <p:cNvSpPr/>
          <p:nvPr/>
        </p:nvSpPr>
        <p:spPr bwMode="auto">
          <a:xfrm>
            <a:off x="5326431" y="4010140"/>
            <a:ext cx="3385769" cy="655074"/>
          </a:xfrm>
          <a:prstGeom prst="roundRect">
            <a:avLst/>
          </a:prstGeom>
          <a:solidFill>
            <a:srgbClr val="80F5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Треугольник 7">
            <a:extLst>
              <a:ext uri="{FF2B5EF4-FFF2-40B4-BE49-F238E27FC236}">
                <a16:creationId xmlns:a16="http://schemas.microsoft.com/office/drawing/2014/main" id="{E30E587A-8FD6-70C3-13C5-CE974980617D}"/>
              </a:ext>
            </a:extLst>
          </p:cNvPr>
          <p:cNvSpPr/>
          <p:nvPr/>
        </p:nvSpPr>
        <p:spPr bwMode="auto">
          <a:xfrm rot="751713">
            <a:off x="8547587" y="4443015"/>
            <a:ext cx="231678" cy="243265"/>
          </a:xfrm>
          <a:prstGeom prst="triangle">
            <a:avLst/>
          </a:prstGeom>
          <a:solidFill>
            <a:srgbClr val="80F5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809E466-23BF-7E4C-B399-9E5EEE8CCF13}"/>
              </a:ext>
            </a:extLst>
          </p:cNvPr>
          <p:cNvSpPr txBox="1">
            <a:spLocks/>
          </p:cNvSpPr>
          <p:nvPr/>
        </p:nvSpPr>
        <p:spPr>
          <a:xfrm>
            <a:off x="5471600" y="4116336"/>
            <a:ext cx="3170970" cy="3756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914400"/>
            <a:r>
              <a:rPr lang="ru-RU" sz="1400" kern="0" dirty="0">
                <a:solidFill>
                  <a:srgbClr val="00313C"/>
                </a:solidFill>
              </a:rPr>
              <a:t>Откройте все окна, запустите свежий воздух. Вдохните его полной грудью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E327344A-0622-7473-04C0-99F22C8FCED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5" y="1187481"/>
            <a:ext cx="556980" cy="590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8606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: скругленные углы 8">
            <a:extLst>
              <a:ext uri="{FF2B5EF4-FFF2-40B4-BE49-F238E27FC236}">
                <a16:creationId xmlns:a16="http://schemas.microsoft.com/office/drawing/2014/main" id="{3108AA97-FC2A-B4D9-E7C9-36FE716995DD}"/>
              </a:ext>
            </a:extLst>
          </p:cNvPr>
          <p:cNvSpPr/>
          <p:nvPr/>
        </p:nvSpPr>
        <p:spPr bwMode="auto">
          <a:xfrm flipH="1">
            <a:off x="-1" y="-9453"/>
            <a:ext cx="9144001" cy="1237833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4E9D7BA-7B7D-443A-9C80-68F4F3E76B31}"/>
              </a:ext>
            </a:extLst>
          </p:cNvPr>
          <p:cNvSpPr txBox="1">
            <a:spLocks/>
          </p:cNvSpPr>
          <p:nvPr/>
        </p:nvSpPr>
        <p:spPr>
          <a:xfrm>
            <a:off x="3267931" y="2217867"/>
            <a:ext cx="1743796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defTabSz="914400" fontAlgn="base">
              <a:spcBef>
                <a:spcPct val="0"/>
              </a:spcBef>
              <a:spcAft>
                <a:spcPct val="0"/>
              </a:spcAft>
              <a:defRPr sz="1400" kern="0"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pPr marL="285750" indent="-285750">
              <a:buClr>
                <a:srgbClr val="77E2C3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313C"/>
                </a:solidFill>
              </a:rPr>
              <a:t>Больший стресс и истощение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225CEADB-03D3-4264-B445-812A0B3E65CD}"/>
              </a:ext>
            </a:extLst>
          </p:cNvPr>
          <p:cNvSpPr txBox="1">
            <a:spLocks/>
          </p:cNvSpPr>
          <p:nvPr/>
        </p:nvSpPr>
        <p:spPr>
          <a:xfrm>
            <a:off x="5408845" y="2217867"/>
            <a:ext cx="3088786" cy="8617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defTabSz="914400" fontAlgn="base">
              <a:spcBef>
                <a:spcPct val="0"/>
              </a:spcBef>
              <a:spcAft>
                <a:spcPct val="0"/>
              </a:spcAft>
              <a:defRPr sz="1400" kern="0"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pPr marL="285750" indent="-285750">
              <a:buClr>
                <a:srgbClr val="77E2C3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313C"/>
                </a:solidFill>
              </a:rPr>
              <a:t>Расслабление с помощью потребления: никотина, кофеина, сахара, алкоголя и др.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7AECFF0-18B3-4000-A331-4C6878DE7A7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589473" y="3357116"/>
            <a:ext cx="2581031" cy="1463937"/>
          </a:xfrm>
          <a:prstGeom prst="rect">
            <a:avLst/>
          </a:prstGeom>
        </p:spPr>
      </p:pic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39490449-C4B8-DAD6-3516-A85EE97B8836}"/>
              </a:ext>
            </a:extLst>
          </p:cNvPr>
          <p:cNvSpPr txBox="1">
            <a:spLocks/>
          </p:cNvSpPr>
          <p:nvPr/>
        </p:nvSpPr>
        <p:spPr>
          <a:xfrm>
            <a:off x="431799" y="376134"/>
            <a:ext cx="5699369" cy="98488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b="1" kern="0" dirty="0">
                <a:solidFill>
                  <a:schemeClr val="bg1"/>
                </a:solidFill>
              </a:rPr>
              <a:t>Капкан </a:t>
            </a:r>
            <a:r>
              <a:rPr lang="ru-RU" sz="3200" b="1" kern="0" dirty="0">
                <a:solidFill>
                  <a:schemeClr val="bg1"/>
                </a:solidFill>
              </a:rPr>
              <a:t>«ЗАПРЕТ НА ОТДЫХ»</a:t>
            </a:r>
          </a:p>
          <a:p>
            <a:pPr defTabSz="914400"/>
            <a:endParaRPr lang="ru-RU" sz="3200" b="1" kern="0" dirty="0">
              <a:solidFill>
                <a:schemeClr val="bg1"/>
              </a:solidFill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BA59EA16-9006-CA21-E0E0-01EE9DB63B99}"/>
              </a:ext>
            </a:extLst>
          </p:cNvPr>
          <p:cNvSpPr txBox="1">
            <a:spLocks/>
          </p:cNvSpPr>
          <p:nvPr/>
        </p:nvSpPr>
        <p:spPr>
          <a:xfrm>
            <a:off x="431800" y="1361277"/>
            <a:ext cx="1521196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kern="0" dirty="0"/>
              <a:t>Признаки:</a:t>
            </a:r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9266AA81-AC3A-A7C8-AC3E-B191F6AC7C33}"/>
              </a:ext>
            </a:extLst>
          </p:cNvPr>
          <p:cNvSpPr txBox="1">
            <a:spLocks/>
          </p:cNvSpPr>
          <p:nvPr/>
        </p:nvSpPr>
        <p:spPr>
          <a:xfrm>
            <a:off x="431800" y="764745"/>
            <a:ext cx="3484180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endParaRPr lang="ru-RU" sz="2000" b="1" kern="0" dirty="0">
              <a:solidFill>
                <a:schemeClr val="bg1"/>
              </a:solidFill>
            </a:endParaRP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A949457A-A788-869D-F13F-CDCEAE97B319}"/>
              </a:ext>
            </a:extLst>
          </p:cNvPr>
          <p:cNvSpPr txBox="1">
            <a:spLocks/>
          </p:cNvSpPr>
          <p:nvPr/>
        </p:nvSpPr>
        <p:spPr>
          <a:xfrm>
            <a:off x="431799" y="2217867"/>
            <a:ext cx="2552715" cy="99001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marL="285750" indent="-285750" defTabSz="914400" fontAlgn="base">
              <a:spcBef>
                <a:spcPct val="0"/>
              </a:spcBef>
              <a:spcAft>
                <a:spcPts val="1000"/>
              </a:spcAft>
              <a:buClr>
                <a:srgbClr val="77E2C3"/>
              </a:buClr>
              <a:buFont typeface="Arial" panose="020B0604020202020204" pitchFamily="34" charset="0"/>
              <a:buChar char="•"/>
              <a:defRPr sz="1400" kern="0">
                <a:solidFill>
                  <a:srgbClr val="00313C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dirty="0"/>
              <a:t>Думаю «сейчас все сделаю, а потом отдохну»</a:t>
            </a:r>
          </a:p>
          <a:p>
            <a:r>
              <a:rPr lang="ru-RU" dirty="0"/>
              <a:t>Постоянно откладываю отдых на потом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BA1A908D-E819-7537-17A6-084079379BAE}"/>
              </a:ext>
            </a:extLst>
          </p:cNvPr>
          <p:cNvCxnSpPr>
            <a:cxnSpLocks/>
          </p:cNvCxnSpPr>
          <p:nvPr/>
        </p:nvCxnSpPr>
        <p:spPr bwMode="auto">
          <a:xfrm>
            <a:off x="431800" y="2128321"/>
            <a:ext cx="214593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58C3E1EB-7B68-A704-E872-67A165A200B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00" y="1832380"/>
            <a:ext cx="208076" cy="201167"/>
          </a:xfrm>
          <a:prstGeom prst="rect">
            <a:avLst/>
          </a:prstGeom>
        </p:spPr>
      </p:pic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0DD435CF-EAE8-843B-B9A3-279346FC0E92}"/>
              </a:ext>
            </a:extLst>
          </p:cNvPr>
          <p:cNvCxnSpPr>
            <a:cxnSpLocks/>
          </p:cNvCxnSpPr>
          <p:nvPr/>
        </p:nvCxnSpPr>
        <p:spPr bwMode="auto">
          <a:xfrm>
            <a:off x="3304109" y="2128321"/>
            <a:ext cx="170761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C8621628-FA5F-E82F-C06C-874972BF46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0442" y="1811257"/>
            <a:ext cx="251772" cy="243412"/>
          </a:xfrm>
          <a:prstGeom prst="rect">
            <a:avLst/>
          </a:prstGeom>
        </p:spPr>
      </p:pic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292F182A-6D11-A092-495A-7D4D6BDD3A6B}"/>
              </a:ext>
            </a:extLst>
          </p:cNvPr>
          <p:cNvCxnSpPr>
            <a:cxnSpLocks/>
          </p:cNvCxnSpPr>
          <p:nvPr/>
        </p:nvCxnSpPr>
        <p:spPr bwMode="auto">
          <a:xfrm>
            <a:off x="5456310" y="2128321"/>
            <a:ext cx="254181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13E7F19C-E496-BEC6-0860-B7B7AFB6347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5033" y="1811257"/>
            <a:ext cx="251772" cy="243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0237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ТОП-5 известных трудоголиков | БДГ Деловая газета">
            <a:extLst>
              <a:ext uri="{FF2B5EF4-FFF2-40B4-BE49-F238E27FC236}">
                <a16:creationId xmlns:a16="http://schemas.microsoft.com/office/drawing/2014/main" id="{B78CEC48-AFA7-AA38-BA5F-21F2B3A124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50"/>
          <a:stretch/>
        </p:blipFill>
        <p:spPr bwMode="auto">
          <a:xfrm flipH="1">
            <a:off x="2835458" y="0"/>
            <a:ext cx="6308542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Прямоугольник: скругленные углы 8">
            <a:extLst>
              <a:ext uri="{FF2B5EF4-FFF2-40B4-BE49-F238E27FC236}">
                <a16:creationId xmlns:a16="http://schemas.microsoft.com/office/drawing/2014/main" id="{F4886E82-FEEC-846C-03FD-9C29541D1895}"/>
              </a:ext>
            </a:extLst>
          </p:cNvPr>
          <p:cNvSpPr/>
          <p:nvPr/>
        </p:nvSpPr>
        <p:spPr bwMode="auto">
          <a:xfrm flipH="1">
            <a:off x="-4" y="0"/>
            <a:ext cx="4572004" cy="5161346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/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CC5C8E88-C345-3558-3115-BCD6047067F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2609916" y="3767321"/>
            <a:ext cx="891992" cy="891992"/>
          </a:xfrm>
          <a:prstGeom prst="rect">
            <a:avLst/>
          </a:prstGeom>
        </p:spPr>
      </p:pic>
      <p:sp>
        <p:nvSpPr>
          <p:cNvPr id="28" name="Скругленный прямоугольник 27">
            <a:extLst>
              <a:ext uri="{FF2B5EF4-FFF2-40B4-BE49-F238E27FC236}">
                <a16:creationId xmlns:a16="http://schemas.microsoft.com/office/drawing/2014/main" id="{A993506E-AC09-A871-6F3B-76D512076634}"/>
              </a:ext>
            </a:extLst>
          </p:cNvPr>
          <p:cNvSpPr/>
          <p:nvPr/>
        </p:nvSpPr>
        <p:spPr bwMode="auto">
          <a:xfrm>
            <a:off x="328398" y="5922214"/>
            <a:ext cx="1728000" cy="1728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023FA83B-E0FE-43EC-828B-162B6FADFB8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3920" y="5255974"/>
            <a:ext cx="1636414" cy="1183692"/>
          </a:xfrm>
          <a:prstGeom prst="rect">
            <a:avLst/>
          </a:prstGeom>
        </p:spPr>
      </p:pic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40BF5D06-0B0F-4A21-953F-3C24ED942A44}"/>
              </a:ext>
            </a:extLst>
          </p:cNvPr>
          <p:cNvSpPr txBox="1">
            <a:spLocks/>
          </p:cNvSpPr>
          <p:nvPr/>
        </p:nvSpPr>
        <p:spPr>
          <a:xfrm>
            <a:off x="431800" y="242570"/>
            <a:ext cx="3882142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3200" b="1" dirty="0">
                <a:solidFill>
                  <a:schemeClr val="bg1"/>
                </a:solidFill>
              </a:rPr>
              <a:t>Что делать? </a:t>
            </a: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12B15461-CCB5-FA6A-D140-84D7FA2D7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775" y="-598092"/>
            <a:ext cx="8636400" cy="5292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0F28EFE-FC3F-97A4-2C6F-DFA305E3FB2B}"/>
              </a:ext>
            </a:extLst>
          </p:cNvPr>
          <p:cNvSpPr txBox="1">
            <a:spLocks/>
          </p:cNvSpPr>
          <p:nvPr/>
        </p:nvSpPr>
        <p:spPr>
          <a:xfrm>
            <a:off x="431800" y="1123139"/>
            <a:ext cx="35306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2000" dirty="0">
                <a:solidFill>
                  <a:schemeClr val="bg1"/>
                </a:solidFill>
              </a:rPr>
              <a:t>Как не попасть </a:t>
            </a:r>
            <a:br>
              <a:rPr lang="ru-RU" sz="2000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в капкан </a:t>
            </a:r>
            <a:r>
              <a:rPr lang="ru-RU" sz="2000" b="1" dirty="0">
                <a:solidFill>
                  <a:schemeClr val="bg1"/>
                </a:solidFill>
              </a:rPr>
              <a:t>«Запрет на отдых» </a:t>
            </a:r>
            <a:br>
              <a:rPr lang="ru-RU" sz="2000" b="1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или выбраться из него?</a:t>
            </a:r>
          </a:p>
        </p:txBody>
      </p:sp>
    </p:spTree>
    <p:extLst>
      <p:ext uri="{BB962C8B-B14F-4D97-AF65-F5344CB8AC3E}">
        <p14:creationId xmlns:p14="http://schemas.microsoft.com/office/powerpoint/2010/main" val="40645477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: скругленные углы 8">
            <a:extLst>
              <a:ext uri="{FF2B5EF4-FFF2-40B4-BE49-F238E27FC236}">
                <a16:creationId xmlns:a16="http://schemas.microsoft.com/office/drawing/2014/main" id="{F4886E82-FEEC-846C-03FD-9C29541D1895}"/>
              </a:ext>
            </a:extLst>
          </p:cNvPr>
          <p:cNvSpPr/>
          <p:nvPr/>
        </p:nvSpPr>
        <p:spPr bwMode="auto">
          <a:xfrm flipH="1">
            <a:off x="-4" y="0"/>
            <a:ext cx="4572004" cy="5161346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/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CC5C8E88-C345-3558-3115-BCD6047067F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609916" y="3767321"/>
            <a:ext cx="891992" cy="891992"/>
          </a:xfrm>
          <a:prstGeom prst="rect">
            <a:avLst/>
          </a:prstGeom>
        </p:spPr>
      </p:pic>
      <p:sp>
        <p:nvSpPr>
          <p:cNvPr id="28" name="Скругленный прямоугольник 27">
            <a:extLst>
              <a:ext uri="{FF2B5EF4-FFF2-40B4-BE49-F238E27FC236}">
                <a16:creationId xmlns:a16="http://schemas.microsoft.com/office/drawing/2014/main" id="{A993506E-AC09-A871-6F3B-76D512076634}"/>
              </a:ext>
            </a:extLst>
          </p:cNvPr>
          <p:cNvSpPr/>
          <p:nvPr/>
        </p:nvSpPr>
        <p:spPr bwMode="auto">
          <a:xfrm>
            <a:off x="328398" y="5922214"/>
            <a:ext cx="1728000" cy="1728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023FA83B-E0FE-43EC-828B-162B6FADFB8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3920" y="5255974"/>
            <a:ext cx="1636414" cy="1183692"/>
          </a:xfrm>
          <a:prstGeom prst="rect">
            <a:avLst/>
          </a:prstGeom>
        </p:spPr>
      </p:pic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40BF5D06-0B0F-4A21-953F-3C24ED942A44}"/>
              </a:ext>
            </a:extLst>
          </p:cNvPr>
          <p:cNvSpPr txBox="1">
            <a:spLocks/>
          </p:cNvSpPr>
          <p:nvPr/>
        </p:nvSpPr>
        <p:spPr>
          <a:xfrm>
            <a:off x="431800" y="242570"/>
            <a:ext cx="3882142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3200" b="1" dirty="0">
                <a:solidFill>
                  <a:schemeClr val="bg1"/>
                </a:solidFill>
              </a:rPr>
              <a:t>Что делать? </a:t>
            </a: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12B15461-CCB5-FA6A-D140-84D7FA2D7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775" y="-598092"/>
            <a:ext cx="8636400" cy="5292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0F28EFE-FC3F-97A4-2C6F-DFA305E3FB2B}"/>
              </a:ext>
            </a:extLst>
          </p:cNvPr>
          <p:cNvSpPr txBox="1">
            <a:spLocks/>
          </p:cNvSpPr>
          <p:nvPr/>
        </p:nvSpPr>
        <p:spPr>
          <a:xfrm>
            <a:off x="431800" y="1123139"/>
            <a:ext cx="35306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2000" dirty="0">
                <a:solidFill>
                  <a:schemeClr val="bg1"/>
                </a:solidFill>
              </a:rPr>
              <a:t>Как не попасть </a:t>
            </a:r>
            <a:br>
              <a:rPr lang="ru-RU" sz="2000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в капкан </a:t>
            </a:r>
            <a:r>
              <a:rPr lang="ru-RU" sz="2000" b="1" dirty="0">
                <a:solidFill>
                  <a:schemeClr val="bg1"/>
                </a:solidFill>
              </a:rPr>
              <a:t>«Запрет на отдых» </a:t>
            </a:r>
            <a:br>
              <a:rPr lang="ru-RU" sz="2000" b="1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или выбраться из него?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7AE754AF-78DB-F3E9-205E-532594E3A6FE}"/>
              </a:ext>
            </a:extLst>
          </p:cNvPr>
          <p:cNvSpPr txBox="1">
            <a:spLocks/>
          </p:cNvSpPr>
          <p:nvPr/>
        </p:nvSpPr>
        <p:spPr>
          <a:xfrm>
            <a:off x="5003805" y="2126818"/>
            <a:ext cx="3278804" cy="17030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defTabSz="914400" fontAlgn="base">
              <a:spcBef>
                <a:spcPct val="0"/>
              </a:spcBef>
              <a:spcAft>
                <a:spcPct val="0"/>
              </a:spcAft>
              <a:defRPr sz="2000" kern="0">
                <a:solidFill>
                  <a:srgbClr val="00313C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pPr>
              <a:spcAft>
                <a:spcPts val="800"/>
              </a:spcAft>
            </a:pPr>
            <a:r>
              <a:rPr lang="ru-RU" sz="1400" dirty="0"/>
              <a:t>Осознание, что без качественного отдыха не будет продуктивной работы. </a:t>
            </a:r>
          </a:p>
          <a:p>
            <a:pPr>
              <a:spcAft>
                <a:spcPts val="800"/>
              </a:spcAft>
            </a:pPr>
            <a:r>
              <a:rPr lang="ru-RU" sz="1400" b="1" dirty="0"/>
              <a:t>Забота о себе: </a:t>
            </a:r>
          </a:p>
          <a:p>
            <a:pPr marL="342900" indent="-342900">
              <a:spcAft>
                <a:spcPts val="800"/>
              </a:spcAft>
              <a:buClr>
                <a:srgbClr val="008C95"/>
              </a:buClr>
              <a:buFont typeface="Arial" panose="020B0604020202020204" pitchFamily="34" charset="0"/>
              <a:buChar char="•"/>
            </a:pPr>
            <a:r>
              <a:rPr lang="ru-RU" sz="1400" dirty="0"/>
              <a:t>двигательная активность</a:t>
            </a:r>
          </a:p>
          <a:p>
            <a:pPr marL="342900" indent="-342900">
              <a:spcAft>
                <a:spcPts val="800"/>
              </a:spcAft>
              <a:buClr>
                <a:srgbClr val="008C95"/>
              </a:buClr>
              <a:buFont typeface="Arial" panose="020B0604020202020204" pitchFamily="34" charset="0"/>
              <a:buChar char="•"/>
            </a:pPr>
            <a:r>
              <a:rPr lang="ru-RU" sz="1400" dirty="0"/>
              <a:t>полноценное питание</a:t>
            </a:r>
          </a:p>
          <a:p>
            <a:pPr marL="342900" indent="-342900">
              <a:spcAft>
                <a:spcPts val="800"/>
              </a:spcAft>
              <a:buClr>
                <a:srgbClr val="008C95"/>
              </a:buClr>
              <a:buFont typeface="Arial" panose="020B0604020202020204" pitchFamily="34" charset="0"/>
              <a:buChar char="•"/>
            </a:pPr>
            <a:r>
              <a:rPr lang="ru-RU" sz="1400" dirty="0"/>
              <a:t>время на свои хобби</a:t>
            </a: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65AF3938-F055-8195-350C-10D397F92948}"/>
              </a:ext>
            </a:extLst>
          </p:cNvPr>
          <p:cNvSpPr txBox="1">
            <a:spLocks/>
          </p:cNvSpPr>
          <p:nvPr/>
        </p:nvSpPr>
        <p:spPr>
          <a:xfrm>
            <a:off x="5003804" y="242570"/>
            <a:ext cx="2627780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3200" b="1" kern="0" dirty="0"/>
              <a:t>Решение: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4F26BE7B-03EC-B1BF-B7E4-9E4B379CEE17}"/>
              </a:ext>
            </a:extLst>
          </p:cNvPr>
          <p:cNvCxnSpPr>
            <a:cxnSpLocks/>
          </p:cNvCxnSpPr>
          <p:nvPr/>
        </p:nvCxnSpPr>
        <p:spPr bwMode="auto">
          <a:xfrm>
            <a:off x="5003805" y="1934177"/>
            <a:ext cx="307339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" name="Рисунок 9" descr="Танцы контур">
            <a:extLst>
              <a:ext uri="{FF2B5EF4-FFF2-40B4-BE49-F238E27FC236}">
                <a16:creationId xmlns:a16="http://schemas.microsoft.com/office/drawing/2014/main" id="{1591B35A-A353-ADD0-491A-EB7BA05FFC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256775" y="3220559"/>
            <a:ext cx="1985515" cy="1985515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6FD1EC66-4D5D-CCC0-7C69-6C939BE37FA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4" y="1142272"/>
            <a:ext cx="656416" cy="635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6267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4</a:t>
            </a:fld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942826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5976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: скругленные углы 8">
            <a:extLst>
              <a:ext uri="{FF2B5EF4-FFF2-40B4-BE49-F238E27FC236}">
                <a16:creationId xmlns:a16="http://schemas.microsoft.com/office/drawing/2014/main" id="{7A5E86FC-DD72-D31A-1A77-5E3DC9FD26B5}"/>
              </a:ext>
            </a:extLst>
          </p:cNvPr>
          <p:cNvSpPr/>
          <p:nvPr/>
        </p:nvSpPr>
        <p:spPr bwMode="auto">
          <a:xfrm flipH="1">
            <a:off x="-1" y="-9453"/>
            <a:ext cx="9144001" cy="1237833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39D2D7CD-C237-713F-2E4F-6BDD02B65F0D}"/>
              </a:ext>
            </a:extLst>
          </p:cNvPr>
          <p:cNvSpPr/>
          <p:nvPr/>
        </p:nvSpPr>
        <p:spPr bwMode="auto">
          <a:xfrm rot="21152074">
            <a:off x="7322052" y="4602574"/>
            <a:ext cx="1433384" cy="559697"/>
          </a:xfrm>
          <a:prstGeom prst="ellipse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82E89CB-5C42-4CF7-8A92-D72F68A89020}"/>
              </a:ext>
            </a:extLst>
          </p:cNvPr>
          <p:cNvSpPr txBox="1">
            <a:spLocks/>
          </p:cNvSpPr>
          <p:nvPr/>
        </p:nvSpPr>
        <p:spPr>
          <a:xfrm>
            <a:off x="3223257" y="2195339"/>
            <a:ext cx="2301818" cy="171329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defTabSz="914400" fontAlgn="base">
              <a:spcBef>
                <a:spcPct val="0"/>
              </a:spcBef>
              <a:spcAft>
                <a:spcPct val="0"/>
              </a:spcAft>
              <a:defRPr sz="1400" kern="0">
                <a:solidFill>
                  <a:srgbClr val="00313C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ru-RU" dirty="0"/>
              <a:t>Срабатывают психологические защиты, не дающие увидеть конструктивное решение</a:t>
            </a:r>
          </a:p>
          <a:p>
            <a:pPr marL="285750" indent="-285750">
              <a:spcAft>
                <a:spcPts val="1000"/>
              </a:spcAft>
              <a:buClr>
                <a:srgbClr val="80F5D9"/>
              </a:buClr>
              <a:buFont typeface="Arial" panose="020B0604020202020204" pitchFamily="34" charset="0"/>
              <a:buChar char="•"/>
            </a:pPr>
            <a:r>
              <a:rPr lang="ru-RU" dirty="0"/>
              <a:t>Огрызаюсь</a:t>
            </a:r>
          </a:p>
          <a:p>
            <a:pPr marL="285750" indent="-285750">
              <a:spcAft>
                <a:spcPts val="1000"/>
              </a:spcAft>
              <a:buClr>
                <a:srgbClr val="80F5D9"/>
              </a:buClr>
              <a:buFont typeface="Arial" panose="020B0604020202020204" pitchFamily="34" charset="0"/>
              <a:buChar char="•"/>
            </a:pPr>
            <a:r>
              <a:rPr lang="ru-RU" dirty="0"/>
              <a:t>Замираю, </a:t>
            </a:r>
            <a:br>
              <a:rPr lang="ru-RU" dirty="0"/>
            </a:br>
            <a:r>
              <a:rPr lang="ru-RU" dirty="0"/>
              <a:t>ухожу в себя</a:t>
            </a: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4E9D7BA-7B7D-443A-9C80-68F4F3E76B31}"/>
              </a:ext>
            </a:extLst>
          </p:cNvPr>
          <p:cNvSpPr txBox="1">
            <a:spLocks/>
          </p:cNvSpPr>
          <p:nvPr/>
        </p:nvSpPr>
        <p:spPr>
          <a:xfrm>
            <a:off x="5726448" y="2192755"/>
            <a:ext cx="2071176" cy="107721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marL="285750" indent="-285750" defTabSz="914400" fontAlgn="base">
              <a:spcBef>
                <a:spcPct val="0"/>
              </a:spcBef>
              <a:spcAft>
                <a:spcPts val="1000"/>
              </a:spcAft>
              <a:buClr>
                <a:srgbClr val="77E2C3"/>
              </a:buClr>
              <a:buFont typeface="Arial" panose="020B0604020202020204" pitchFamily="34" charset="0"/>
              <a:buChar char="•"/>
              <a:defRPr sz="1400" kern="0">
                <a:solidFill>
                  <a:srgbClr val="00313C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dirty="0"/>
              <a:t>Ухудшение отношений </a:t>
            </a:r>
            <a:br>
              <a:rPr lang="ru-RU" dirty="0"/>
            </a:br>
            <a:r>
              <a:rPr lang="ru-RU" dirty="0"/>
              <a:t>с коллегами, </a:t>
            </a:r>
          </a:p>
          <a:p>
            <a:r>
              <a:rPr lang="ru-RU" dirty="0"/>
              <a:t>отсутствие прогресса в общем деле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EEC992A2-6EF1-4DA1-AB87-3C2F3AD729B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8245" y="3005735"/>
            <a:ext cx="1332919" cy="2091063"/>
          </a:xfrm>
          <a:prstGeom prst="rect">
            <a:avLst/>
          </a:prstGeom>
        </p:spPr>
      </p:pic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38B62E36-DAF3-1ABC-504A-D141C6F4A8F5}"/>
              </a:ext>
            </a:extLst>
          </p:cNvPr>
          <p:cNvSpPr txBox="1">
            <a:spLocks/>
          </p:cNvSpPr>
          <p:nvPr/>
        </p:nvSpPr>
        <p:spPr>
          <a:xfrm>
            <a:off x="431799" y="419486"/>
            <a:ext cx="4391991" cy="98488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b="1" kern="0" dirty="0">
                <a:solidFill>
                  <a:schemeClr val="bg1"/>
                </a:solidFill>
              </a:rPr>
              <a:t>Капкан </a:t>
            </a:r>
            <a:r>
              <a:rPr lang="ru-RU" sz="3200" b="1" kern="0" dirty="0">
                <a:solidFill>
                  <a:schemeClr val="bg1"/>
                </a:solidFill>
              </a:rPr>
              <a:t>«КОНФЛИКТОВ»</a:t>
            </a:r>
          </a:p>
          <a:p>
            <a:pPr defTabSz="914400"/>
            <a:endParaRPr lang="ru-RU" sz="3200" b="1" kern="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C60F9EBF-97F4-5C3F-8371-BA3948C128B1}"/>
              </a:ext>
            </a:extLst>
          </p:cNvPr>
          <p:cNvSpPr txBox="1">
            <a:spLocks/>
          </p:cNvSpPr>
          <p:nvPr/>
        </p:nvSpPr>
        <p:spPr>
          <a:xfrm>
            <a:off x="431800" y="1361277"/>
            <a:ext cx="1521196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kern="0" dirty="0"/>
              <a:t>Признаки:</a:t>
            </a:r>
          </a:p>
        </p:txBody>
      </p:sp>
      <p:sp>
        <p:nvSpPr>
          <p:cNvPr id="29" name="Заголовок 1">
            <a:extLst>
              <a:ext uri="{FF2B5EF4-FFF2-40B4-BE49-F238E27FC236}">
                <a16:creationId xmlns:a16="http://schemas.microsoft.com/office/drawing/2014/main" id="{C5CA0140-5D07-2EED-58AF-34147564147B}"/>
              </a:ext>
            </a:extLst>
          </p:cNvPr>
          <p:cNvSpPr txBox="1">
            <a:spLocks/>
          </p:cNvSpPr>
          <p:nvPr/>
        </p:nvSpPr>
        <p:spPr>
          <a:xfrm>
            <a:off x="431800" y="2195339"/>
            <a:ext cx="2398486" cy="99001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marL="285750" indent="-285750" defTabSz="914400" fontAlgn="base">
              <a:spcBef>
                <a:spcPct val="0"/>
              </a:spcBef>
              <a:spcAft>
                <a:spcPts val="1000"/>
              </a:spcAft>
              <a:buClr>
                <a:srgbClr val="80F5D9"/>
              </a:buClr>
              <a:buFont typeface="Arial" panose="020B0604020202020204" pitchFamily="34" charset="0"/>
              <a:buChar char="•"/>
              <a:defRPr sz="1400" kern="0">
                <a:solidFill>
                  <a:srgbClr val="00313C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dirty="0"/>
              <a:t>Возникновение ситуации требующей ее решения</a:t>
            </a:r>
          </a:p>
          <a:p>
            <a:r>
              <a:rPr lang="ru-RU" dirty="0"/>
              <a:t>Разногласия с коллегами или руководителем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4B989A63-3A6F-72A2-8304-5B4D4F5CF7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775" y="-568496"/>
            <a:ext cx="8636400" cy="5292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32" name="Прямоугольник: скругленные углы 8">
            <a:extLst>
              <a:ext uri="{FF2B5EF4-FFF2-40B4-BE49-F238E27FC236}">
                <a16:creationId xmlns:a16="http://schemas.microsoft.com/office/drawing/2014/main" id="{6A89FFAD-54C9-CC14-8AA0-E43897925DEE}"/>
              </a:ext>
            </a:extLst>
          </p:cNvPr>
          <p:cNvSpPr/>
          <p:nvPr/>
        </p:nvSpPr>
        <p:spPr bwMode="auto">
          <a:xfrm>
            <a:off x="4862241" y="3958889"/>
            <a:ext cx="2345358" cy="796185"/>
          </a:xfrm>
          <a:prstGeom prst="roundRect">
            <a:avLst/>
          </a:prstGeom>
          <a:solidFill>
            <a:srgbClr val="80F5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4" name="Треугольник 33">
            <a:extLst>
              <a:ext uri="{FF2B5EF4-FFF2-40B4-BE49-F238E27FC236}">
                <a16:creationId xmlns:a16="http://schemas.microsoft.com/office/drawing/2014/main" id="{148E1105-EE76-90D1-7BD2-D2D4D52E20E0}"/>
              </a:ext>
            </a:extLst>
          </p:cNvPr>
          <p:cNvSpPr/>
          <p:nvPr/>
        </p:nvSpPr>
        <p:spPr bwMode="auto">
          <a:xfrm rot="2502969">
            <a:off x="7053077" y="3890491"/>
            <a:ext cx="231678" cy="243265"/>
          </a:xfrm>
          <a:prstGeom prst="triangle">
            <a:avLst/>
          </a:prstGeom>
          <a:solidFill>
            <a:srgbClr val="80F5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E8DD1E2-27E4-42B8-89DF-6CB825031E43}"/>
              </a:ext>
            </a:extLst>
          </p:cNvPr>
          <p:cNvSpPr txBox="1">
            <a:spLocks/>
          </p:cNvSpPr>
          <p:nvPr/>
        </p:nvSpPr>
        <p:spPr>
          <a:xfrm>
            <a:off x="5007751" y="4021616"/>
            <a:ext cx="2284015" cy="64633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defTabSz="914400" fontAlgn="base">
              <a:spcBef>
                <a:spcPct val="0"/>
              </a:spcBef>
              <a:spcAft>
                <a:spcPct val="0"/>
              </a:spcAft>
              <a:defRPr sz="1400" kern="0">
                <a:solidFill>
                  <a:srgbClr val="00313C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dirty="0"/>
              <a:t>Злиться — это все равно, что принять яд и ждать, что умрет другой</a:t>
            </a:r>
          </a:p>
        </p:txBody>
      </p: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5384C7F0-0235-7427-784C-22BBCBB81B19}"/>
              </a:ext>
            </a:extLst>
          </p:cNvPr>
          <p:cNvCxnSpPr>
            <a:cxnSpLocks/>
          </p:cNvCxnSpPr>
          <p:nvPr/>
        </p:nvCxnSpPr>
        <p:spPr bwMode="auto">
          <a:xfrm>
            <a:off x="431800" y="2117057"/>
            <a:ext cx="239848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21924637-BF33-97BD-16FA-8CFD981FDEB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00" y="1832380"/>
            <a:ext cx="208076" cy="201167"/>
          </a:xfrm>
          <a:prstGeom prst="rect">
            <a:avLst/>
          </a:prstGeom>
        </p:spPr>
      </p:pic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E82D5F71-5E10-C436-5E9D-06F8AD4017A0}"/>
              </a:ext>
            </a:extLst>
          </p:cNvPr>
          <p:cNvCxnSpPr>
            <a:cxnSpLocks/>
          </p:cNvCxnSpPr>
          <p:nvPr/>
        </p:nvCxnSpPr>
        <p:spPr bwMode="auto">
          <a:xfrm>
            <a:off x="3223256" y="2117057"/>
            <a:ext cx="206285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19AF9FD7-4693-9E83-920D-B56DB314D4A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3256" y="1832380"/>
            <a:ext cx="208076" cy="201167"/>
          </a:xfrm>
          <a:prstGeom prst="rect">
            <a:avLst/>
          </a:prstGeom>
        </p:spPr>
      </p:pic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F98C7C67-A122-581F-4B77-754D9DC93E94}"/>
              </a:ext>
            </a:extLst>
          </p:cNvPr>
          <p:cNvCxnSpPr>
            <a:cxnSpLocks/>
          </p:cNvCxnSpPr>
          <p:nvPr/>
        </p:nvCxnSpPr>
        <p:spPr bwMode="auto">
          <a:xfrm>
            <a:off x="5726447" y="2117057"/>
            <a:ext cx="186742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F72DF8D3-45F4-FC45-9FBC-87D19D2A0C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2993" y="1832380"/>
            <a:ext cx="208076" cy="201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71164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7 способов правильно разрешать конфликты в команде | Блог РСВ">
            <a:extLst>
              <a:ext uri="{FF2B5EF4-FFF2-40B4-BE49-F238E27FC236}">
                <a16:creationId xmlns:a16="http://schemas.microsoft.com/office/drawing/2014/main" id="{BB30B834-7896-FEB8-A30C-57035F37B6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420813" y="0"/>
            <a:ext cx="7723187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Прямоугольник: скругленные углы 8">
            <a:extLst>
              <a:ext uri="{FF2B5EF4-FFF2-40B4-BE49-F238E27FC236}">
                <a16:creationId xmlns:a16="http://schemas.microsoft.com/office/drawing/2014/main" id="{F4886E82-FEEC-846C-03FD-9C29541D1895}"/>
              </a:ext>
            </a:extLst>
          </p:cNvPr>
          <p:cNvSpPr/>
          <p:nvPr/>
        </p:nvSpPr>
        <p:spPr bwMode="auto">
          <a:xfrm flipH="1">
            <a:off x="-4" y="0"/>
            <a:ext cx="4572004" cy="5161346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/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CC5C8E88-C345-3558-3115-BCD6047067F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2609916" y="3767321"/>
            <a:ext cx="891992" cy="891992"/>
          </a:xfrm>
          <a:prstGeom prst="rect">
            <a:avLst/>
          </a:prstGeom>
        </p:spPr>
      </p:pic>
      <p:sp>
        <p:nvSpPr>
          <p:cNvPr id="28" name="Скругленный прямоугольник 27">
            <a:extLst>
              <a:ext uri="{FF2B5EF4-FFF2-40B4-BE49-F238E27FC236}">
                <a16:creationId xmlns:a16="http://schemas.microsoft.com/office/drawing/2014/main" id="{A993506E-AC09-A871-6F3B-76D512076634}"/>
              </a:ext>
            </a:extLst>
          </p:cNvPr>
          <p:cNvSpPr/>
          <p:nvPr/>
        </p:nvSpPr>
        <p:spPr bwMode="auto">
          <a:xfrm>
            <a:off x="328398" y="5922214"/>
            <a:ext cx="1728000" cy="1728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023FA83B-E0FE-43EC-828B-162B6FADFB8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3920" y="5255974"/>
            <a:ext cx="1636414" cy="1183692"/>
          </a:xfrm>
          <a:prstGeom prst="rect">
            <a:avLst/>
          </a:prstGeom>
        </p:spPr>
      </p:pic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40BF5D06-0B0F-4A21-953F-3C24ED942A44}"/>
              </a:ext>
            </a:extLst>
          </p:cNvPr>
          <p:cNvSpPr txBox="1">
            <a:spLocks/>
          </p:cNvSpPr>
          <p:nvPr/>
        </p:nvSpPr>
        <p:spPr>
          <a:xfrm>
            <a:off x="431800" y="242570"/>
            <a:ext cx="3882142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3200" b="1" dirty="0">
                <a:solidFill>
                  <a:schemeClr val="bg1"/>
                </a:solidFill>
              </a:rPr>
              <a:t>Что делать? </a:t>
            </a: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12B15461-CCB5-FA6A-D140-84D7FA2D7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775" y="-598092"/>
            <a:ext cx="8636400" cy="5292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0F28EFE-FC3F-97A4-2C6F-DFA305E3FB2B}"/>
              </a:ext>
            </a:extLst>
          </p:cNvPr>
          <p:cNvSpPr txBox="1">
            <a:spLocks/>
          </p:cNvSpPr>
          <p:nvPr/>
        </p:nvSpPr>
        <p:spPr>
          <a:xfrm>
            <a:off x="431800" y="1123139"/>
            <a:ext cx="35306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2000" dirty="0">
                <a:solidFill>
                  <a:schemeClr val="bg1"/>
                </a:solidFill>
              </a:rPr>
              <a:t>Как не попасть </a:t>
            </a:r>
            <a:br>
              <a:rPr lang="ru-RU" sz="2000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в капкан </a:t>
            </a:r>
            <a:r>
              <a:rPr lang="ru-RU" sz="2000" b="1" dirty="0">
                <a:solidFill>
                  <a:schemeClr val="bg1"/>
                </a:solidFill>
              </a:rPr>
              <a:t>«Конфликтов» </a:t>
            </a:r>
            <a:br>
              <a:rPr lang="ru-RU" sz="2000" b="1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или выбраться из него?</a:t>
            </a:r>
          </a:p>
        </p:txBody>
      </p:sp>
    </p:spTree>
    <p:extLst>
      <p:ext uri="{BB962C8B-B14F-4D97-AF65-F5344CB8AC3E}">
        <p14:creationId xmlns:p14="http://schemas.microsoft.com/office/powerpoint/2010/main" val="18208247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: скругленные углы 8">
            <a:extLst>
              <a:ext uri="{FF2B5EF4-FFF2-40B4-BE49-F238E27FC236}">
                <a16:creationId xmlns:a16="http://schemas.microsoft.com/office/drawing/2014/main" id="{F4886E82-FEEC-846C-03FD-9C29541D1895}"/>
              </a:ext>
            </a:extLst>
          </p:cNvPr>
          <p:cNvSpPr/>
          <p:nvPr/>
        </p:nvSpPr>
        <p:spPr bwMode="auto">
          <a:xfrm flipH="1">
            <a:off x="-4" y="0"/>
            <a:ext cx="4572004" cy="5161346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/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CC5C8E88-C345-3558-3115-BCD6047067F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609916" y="3767321"/>
            <a:ext cx="891992" cy="891992"/>
          </a:xfrm>
          <a:prstGeom prst="rect">
            <a:avLst/>
          </a:prstGeom>
        </p:spPr>
      </p:pic>
      <p:sp>
        <p:nvSpPr>
          <p:cNvPr id="28" name="Скругленный прямоугольник 27">
            <a:extLst>
              <a:ext uri="{FF2B5EF4-FFF2-40B4-BE49-F238E27FC236}">
                <a16:creationId xmlns:a16="http://schemas.microsoft.com/office/drawing/2014/main" id="{A993506E-AC09-A871-6F3B-76D512076634}"/>
              </a:ext>
            </a:extLst>
          </p:cNvPr>
          <p:cNvSpPr/>
          <p:nvPr/>
        </p:nvSpPr>
        <p:spPr bwMode="auto">
          <a:xfrm>
            <a:off x="328398" y="5922214"/>
            <a:ext cx="1728000" cy="1728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023FA83B-E0FE-43EC-828B-162B6FADFB8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3920" y="5255974"/>
            <a:ext cx="1636414" cy="1183692"/>
          </a:xfrm>
          <a:prstGeom prst="rect">
            <a:avLst/>
          </a:prstGeom>
        </p:spPr>
      </p:pic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40BF5D06-0B0F-4A21-953F-3C24ED942A44}"/>
              </a:ext>
            </a:extLst>
          </p:cNvPr>
          <p:cNvSpPr txBox="1">
            <a:spLocks/>
          </p:cNvSpPr>
          <p:nvPr/>
        </p:nvSpPr>
        <p:spPr>
          <a:xfrm>
            <a:off x="431800" y="242570"/>
            <a:ext cx="3882142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3200" b="1" dirty="0">
                <a:solidFill>
                  <a:schemeClr val="bg1"/>
                </a:solidFill>
              </a:rPr>
              <a:t>Что делать? </a:t>
            </a: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12B15461-CCB5-FA6A-D140-84D7FA2D7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775" y="-598092"/>
            <a:ext cx="8636400" cy="5292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0F28EFE-FC3F-97A4-2C6F-DFA305E3FB2B}"/>
              </a:ext>
            </a:extLst>
          </p:cNvPr>
          <p:cNvSpPr txBox="1">
            <a:spLocks/>
          </p:cNvSpPr>
          <p:nvPr/>
        </p:nvSpPr>
        <p:spPr>
          <a:xfrm>
            <a:off x="431800" y="1123139"/>
            <a:ext cx="35306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2000" dirty="0">
                <a:solidFill>
                  <a:schemeClr val="bg1"/>
                </a:solidFill>
              </a:rPr>
              <a:t>Как не попасть </a:t>
            </a:r>
            <a:br>
              <a:rPr lang="ru-RU" sz="2000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в капкан </a:t>
            </a:r>
            <a:r>
              <a:rPr lang="ru-RU" sz="2000" b="1" dirty="0">
                <a:solidFill>
                  <a:schemeClr val="bg1"/>
                </a:solidFill>
              </a:rPr>
              <a:t>«Конфликтов» </a:t>
            </a:r>
            <a:br>
              <a:rPr lang="ru-RU" sz="2000" b="1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или выбраться из него?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7AE754AF-78DB-F3E9-205E-532594E3A6FE}"/>
              </a:ext>
            </a:extLst>
          </p:cNvPr>
          <p:cNvSpPr txBox="1">
            <a:spLocks/>
          </p:cNvSpPr>
          <p:nvPr/>
        </p:nvSpPr>
        <p:spPr>
          <a:xfrm>
            <a:off x="5003805" y="2126818"/>
            <a:ext cx="3352795" cy="258532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defTabSz="914400" fontAlgn="base">
              <a:spcBef>
                <a:spcPct val="0"/>
              </a:spcBef>
              <a:spcAft>
                <a:spcPct val="0"/>
              </a:spcAft>
              <a:defRPr sz="2000" kern="0">
                <a:solidFill>
                  <a:srgbClr val="00313C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400" dirty="0"/>
              <a:t>При конфликте смотреть шире </a:t>
            </a:r>
            <a:br>
              <a:rPr lang="ru-RU" sz="1400" dirty="0"/>
            </a:br>
            <a:r>
              <a:rPr lang="ru-RU" sz="1400" dirty="0"/>
              <a:t>на ситуацию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ru-RU" sz="1400" dirty="0"/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400" dirty="0"/>
              <a:t>Развивать эмоциональный интеллект, чтобы понимать мотивы и состояние коллег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ru-RU" sz="1400" dirty="0"/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400" dirty="0"/>
              <a:t>Направлять агрессию «в дело», </a:t>
            </a:r>
            <a:br>
              <a:rPr lang="ru-RU" sz="1400" dirty="0"/>
            </a:br>
            <a:r>
              <a:rPr lang="ru-RU" sz="1400" dirty="0"/>
              <a:t>на созидание, а не на других людей</a:t>
            </a:r>
            <a:endParaRPr lang="en-US" sz="1400" dirty="0"/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400" dirty="0"/>
              <a:t>Самый эффективный способ решения конфликтов-диалог</a:t>
            </a: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65AF3938-F055-8195-350C-10D397F92948}"/>
              </a:ext>
            </a:extLst>
          </p:cNvPr>
          <p:cNvSpPr txBox="1">
            <a:spLocks/>
          </p:cNvSpPr>
          <p:nvPr/>
        </p:nvSpPr>
        <p:spPr>
          <a:xfrm>
            <a:off x="5003804" y="242570"/>
            <a:ext cx="2627780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3200" b="1" kern="0" dirty="0"/>
              <a:t>Решение: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4F26BE7B-03EC-B1BF-B7E4-9E4B379CEE17}"/>
              </a:ext>
            </a:extLst>
          </p:cNvPr>
          <p:cNvCxnSpPr>
            <a:cxnSpLocks/>
          </p:cNvCxnSpPr>
          <p:nvPr/>
        </p:nvCxnSpPr>
        <p:spPr bwMode="auto">
          <a:xfrm>
            <a:off x="5003805" y="1934177"/>
            <a:ext cx="307339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6FD1EC66-4D5D-CCC0-7C69-6C939BE37FA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4" y="1142272"/>
            <a:ext cx="656416" cy="635903"/>
          </a:xfrm>
          <a:prstGeom prst="rect">
            <a:avLst/>
          </a:prstGeom>
        </p:spPr>
      </p:pic>
      <p:pic>
        <p:nvPicPr>
          <p:cNvPr id="6" name="Рисунок 5" descr="Собрание контур">
            <a:extLst>
              <a:ext uri="{FF2B5EF4-FFF2-40B4-BE49-F238E27FC236}">
                <a16:creationId xmlns:a16="http://schemas.microsoft.com/office/drawing/2014/main" id="{E13AA423-D2F5-541D-10A8-AC9AC3307C4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2600" y="3358866"/>
            <a:ext cx="2146302" cy="2146302"/>
          </a:xfrm>
          <a:prstGeom prst="rect">
            <a:avLst/>
          </a:prstGeom>
        </p:spPr>
      </p:pic>
      <p:pic>
        <p:nvPicPr>
          <p:cNvPr id="8" name="Рисунок 7" descr="Пузырь с сообщением чата контур">
            <a:extLst>
              <a:ext uri="{FF2B5EF4-FFF2-40B4-BE49-F238E27FC236}">
                <a16:creationId xmlns:a16="http://schemas.microsoft.com/office/drawing/2014/main" id="{9FBDA9FA-EB7A-C9F3-F4CB-6914A268DA1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01625" y="2962279"/>
            <a:ext cx="914400" cy="914400"/>
          </a:xfrm>
          <a:prstGeom prst="rect">
            <a:avLst/>
          </a:prstGeom>
        </p:spPr>
      </p:pic>
      <p:pic>
        <p:nvPicPr>
          <p:cNvPr id="9" name="Рисунок 8" descr="Пузырь с сообщением чата контур">
            <a:extLst>
              <a:ext uri="{FF2B5EF4-FFF2-40B4-BE49-F238E27FC236}">
                <a16:creationId xmlns:a16="http://schemas.microsoft.com/office/drawing/2014/main" id="{4248AE75-2E2F-95F1-C60A-C43B80F531E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2303464" y="3441883"/>
            <a:ext cx="650875" cy="650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9859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: скругленные углы 8">
            <a:extLst>
              <a:ext uri="{FF2B5EF4-FFF2-40B4-BE49-F238E27FC236}">
                <a16:creationId xmlns:a16="http://schemas.microsoft.com/office/drawing/2014/main" id="{49EF44A8-27FB-C31A-77C7-D917C2497FA2}"/>
              </a:ext>
            </a:extLst>
          </p:cNvPr>
          <p:cNvSpPr/>
          <p:nvPr/>
        </p:nvSpPr>
        <p:spPr bwMode="auto">
          <a:xfrm flipH="1">
            <a:off x="-1" y="-9453"/>
            <a:ext cx="9144001" cy="1237833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8" name="Овал 37">
            <a:extLst>
              <a:ext uri="{FF2B5EF4-FFF2-40B4-BE49-F238E27FC236}">
                <a16:creationId xmlns:a16="http://schemas.microsoft.com/office/drawing/2014/main" id="{0F5253DD-B0E9-441C-42E7-04643599FB39}"/>
              </a:ext>
            </a:extLst>
          </p:cNvPr>
          <p:cNvSpPr/>
          <p:nvPr/>
        </p:nvSpPr>
        <p:spPr bwMode="auto">
          <a:xfrm>
            <a:off x="7133617" y="4648222"/>
            <a:ext cx="1841769" cy="495278"/>
          </a:xfrm>
          <a:prstGeom prst="ellipse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82E89CB-5C42-4CF7-8A92-D72F68A89020}"/>
              </a:ext>
            </a:extLst>
          </p:cNvPr>
          <p:cNvSpPr txBox="1">
            <a:spLocks/>
          </p:cNvSpPr>
          <p:nvPr/>
        </p:nvSpPr>
        <p:spPr>
          <a:xfrm>
            <a:off x="3194231" y="2215659"/>
            <a:ext cx="2444569" cy="142090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marL="285750" indent="-285750" defTabSz="914400" fontAlgn="base">
              <a:spcBef>
                <a:spcPct val="0"/>
              </a:spcBef>
              <a:spcAft>
                <a:spcPts val="1000"/>
              </a:spcAft>
              <a:buClr>
                <a:srgbClr val="80F5D9"/>
              </a:buClr>
              <a:buFont typeface="Arial" panose="020B0604020202020204" pitchFamily="34" charset="0"/>
              <a:buChar char="•"/>
              <a:defRPr sz="1400" kern="0">
                <a:solidFill>
                  <a:srgbClr val="00313C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dirty="0"/>
              <a:t>Человек с «выгоревшим» лицом не укрепляет существующие связи </a:t>
            </a:r>
            <a:br>
              <a:rPr lang="ru-RU" dirty="0"/>
            </a:br>
            <a:r>
              <a:rPr lang="ru-RU" dirty="0"/>
              <a:t>и не заводит новые</a:t>
            </a:r>
          </a:p>
          <a:p>
            <a:r>
              <a:rPr lang="ru-RU" dirty="0"/>
              <a:t>Вместо идей в глазах пустота</a:t>
            </a: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4E9D7BA-7B7D-443A-9C80-68F4F3E76B31}"/>
              </a:ext>
            </a:extLst>
          </p:cNvPr>
          <p:cNvSpPr txBox="1">
            <a:spLocks/>
          </p:cNvSpPr>
          <p:nvPr/>
        </p:nvSpPr>
        <p:spPr>
          <a:xfrm>
            <a:off x="5956664" y="2215659"/>
            <a:ext cx="2173856" cy="99001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marL="285750" indent="-285750" defTabSz="914400" fontAlgn="base">
              <a:spcBef>
                <a:spcPct val="0"/>
              </a:spcBef>
              <a:spcAft>
                <a:spcPts val="1000"/>
              </a:spcAft>
              <a:buClr>
                <a:srgbClr val="80F5D9"/>
              </a:buClr>
              <a:buFont typeface="Arial" panose="020B0604020202020204" pitchFamily="34" charset="0"/>
              <a:buChar char="•"/>
              <a:defRPr sz="1400" kern="0">
                <a:solidFill>
                  <a:srgbClr val="00313C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dirty="0"/>
              <a:t>Социальная отстраненность</a:t>
            </a:r>
          </a:p>
          <a:p>
            <a:r>
              <a:rPr lang="ru-RU" dirty="0"/>
              <a:t>Ощущение себя вне сообщества, системы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D22A783-0F8C-4476-8274-7F65D13FCAA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9651" y="3607421"/>
            <a:ext cx="1342549" cy="1432668"/>
          </a:xfrm>
          <a:prstGeom prst="rect">
            <a:avLst/>
          </a:prstGeom>
        </p:spPr>
      </p:pic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E2D39604-2B04-C9BD-5DC7-1C3325E57C01}"/>
              </a:ext>
            </a:extLst>
          </p:cNvPr>
          <p:cNvSpPr txBox="1">
            <a:spLocks/>
          </p:cNvSpPr>
          <p:nvPr/>
        </p:nvSpPr>
        <p:spPr>
          <a:xfrm>
            <a:off x="431800" y="223864"/>
            <a:ext cx="5020732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b="1" kern="0" dirty="0">
                <a:solidFill>
                  <a:schemeClr val="bg1"/>
                </a:solidFill>
              </a:rPr>
              <a:t>Капкан </a:t>
            </a:r>
            <a:r>
              <a:rPr lang="ru-RU" sz="3200" b="1" kern="0" dirty="0">
                <a:solidFill>
                  <a:schemeClr val="bg1"/>
                </a:solidFill>
              </a:rPr>
              <a:t>«ОДИНОЧЕСТВО» </a:t>
            </a: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CD4E879D-4369-60F9-C535-44BC04979498}"/>
              </a:ext>
            </a:extLst>
          </p:cNvPr>
          <p:cNvSpPr txBox="1">
            <a:spLocks/>
          </p:cNvSpPr>
          <p:nvPr/>
        </p:nvSpPr>
        <p:spPr>
          <a:xfrm>
            <a:off x="431800" y="1361277"/>
            <a:ext cx="1521196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kern="0" dirty="0"/>
              <a:t>Признаки:</a:t>
            </a:r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9EF99055-2D61-9188-A6C4-DDAC85175F24}"/>
              </a:ext>
            </a:extLst>
          </p:cNvPr>
          <p:cNvSpPr txBox="1">
            <a:spLocks/>
          </p:cNvSpPr>
          <p:nvPr/>
        </p:nvSpPr>
        <p:spPr>
          <a:xfrm>
            <a:off x="431800" y="764745"/>
            <a:ext cx="4473748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b="1" kern="0" dirty="0">
                <a:solidFill>
                  <a:schemeClr val="bg1"/>
                </a:solidFill>
              </a:rPr>
              <a:t>социальный</a:t>
            </a: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F0386D88-4870-AD63-7BFD-6714AC032257}"/>
              </a:ext>
            </a:extLst>
          </p:cNvPr>
          <p:cNvSpPr txBox="1">
            <a:spLocks/>
          </p:cNvSpPr>
          <p:nvPr/>
        </p:nvSpPr>
        <p:spPr>
          <a:xfrm>
            <a:off x="431800" y="2215659"/>
            <a:ext cx="1954784" cy="167738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defTabSz="914400">
              <a:spcAft>
                <a:spcPts val="1000"/>
              </a:spcAft>
              <a:buClr>
                <a:srgbClr val="80F5D9"/>
              </a:buClr>
              <a:buFont typeface="Arial" panose="020B0604020202020204" pitchFamily="34" charset="0"/>
              <a:buChar char="•"/>
            </a:pPr>
            <a:r>
              <a:rPr lang="ru-RU" sz="1400" kern="0" dirty="0">
                <a:solidFill>
                  <a:srgbClr val="00313C"/>
                </a:solidFill>
              </a:rPr>
              <a:t>Работаю, устаю</a:t>
            </a:r>
          </a:p>
          <a:p>
            <a:pPr marL="285750" indent="-285750" defTabSz="914400">
              <a:spcAft>
                <a:spcPts val="1000"/>
              </a:spcAft>
              <a:buClr>
                <a:srgbClr val="80F5D9"/>
              </a:buClr>
              <a:buFont typeface="Arial" panose="020B0604020202020204" pitchFamily="34" charset="0"/>
              <a:buChar char="•"/>
            </a:pPr>
            <a:r>
              <a:rPr lang="ru-RU" sz="1400" kern="0" dirty="0">
                <a:solidFill>
                  <a:srgbClr val="00313C"/>
                </a:solidFill>
              </a:rPr>
              <a:t>Пропадает желание общаться</a:t>
            </a:r>
          </a:p>
          <a:p>
            <a:pPr marL="285750" indent="-285750" defTabSz="914400">
              <a:spcAft>
                <a:spcPts val="1000"/>
              </a:spcAft>
              <a:buClr>
                <a:srgbClr val="80F5D9"/>
              </a:buClr>
              <a:buFont typeface="Arial" panose="020B0604020202020204" pitchFamily="34" charset="0"/>
              <a:buChar char="•"/>
            </a:pPr>
            <a:r>
              <a:rPr lang="ru-RU" sz="1400" kern="0" dirty="0">
                <a:solidFill>
                  <a:srgbClr val="00313C"/>
                </a:solidFill>
              </a:rPr>
              <a:t>Становится меньше «теплых контактов»</a:t>
            </a:r>
          </a:p>
          <a:p>
            <a:pPr marL="285750" indent="-285750" defTabSz="914400">
              <a:spcAft>
                <a:spcPts val="1000"/>
              </a:spcAft>
              <a:buClr>
                <a:srgbClr val="80F5D9"/>
              </a:buClr>
              <a:buFont typeface="Arial" panose="020B0604020202020204" pitchFamily="34" charset="0"/>
              <a:buChar char="•"/>
            </a:pPr>
            <a:endParaRPr lang="ru-RU" sz="1400" kern="0" dirty="0">
              <a:solidFill>
                <a:srgbClr val="00313C"/>
              </a:solidFill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D565B0A7-CB30-C5CC-DEA5-B450DD0B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-652031"/>
            <a:ext cx="8636400" cy="529200"/>
          </a:xfrm>
        </p:spPr>
        <p:txBody>
          <a:bodyPr/>
          <a:lstStyle/>
          <a:p>
            <a:endParaRPr lang="ru-RU" dirty="0"/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00CB968B-5A8E-AF4B-2667-31724CB10655}"/>
              </a:ext>
            </a:extLst>
          </p:cNvPr>
          <p:cNvCxnSpPr>
            <a:cxnSpLocks/>
          </p:cNvCxnSpPr>
          <p:nvPr/>
        </p:nvCxnSpPr>
        <p:spPr bwMode="auto">
          <a:xfrm>
            <a:off x="431800" y="2127217"/>
            <a:ext cx="195478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9ACB99D8-ABF9-A7C4-AA49-38F0CD61F30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00" y="1832380"/>
            <a:ext cx="208076" cy="201167"/>
          </a:xfrm>
          <a:prstGeom prst="rect">
            <a:avLst/>
          </a:prstGeom>
        </p:spPr>
      </p:pic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69FB6202-9056-0F33-E701-9EE33B1AE8B2}"/>
              </a:ext>
            </a:extLst>
          </p:cNvPr>
          <p:cNvCxnSpPr>
            <a:cxnSpLocks/>
          </p:cNvCxnSpPr>
          <p:nvPr/>
        </p:nvCxnSpPr>
        <p:spPr bwMode="auto">
          <a:xfrm>
            <a:off x="3194232" y="2127217"/>
            <a:ext cx="244456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CAC84013-46C6-A929-7C1B-80E6632438C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4232" y="1832380"/>
            <a:ext cx="208076" cy="201167"/>
          </a:xfrm>
          <a:prstGeom prst="rect">
            <a:avLst/>
          </a:prstGeom>
        </p:spPr>
      </p:pic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9718A90D-3554-E141-1E81-290908349F22}"/>
              </a:ext>
            </a:extLst>
          </p:cNvPr>
          <p:cNvCxnSpPr>
            <a:cxnSpLocks/>
          </p:cNvCxnSpPr>
          <p:nvPr/>
        </p:nvCxnSpPr>
        <p:spPr bwMode="auto">
          <a:xfrm>
            <a:off x="5956664" y="2127217"/>
            <a:ext cx="204584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2F9AD501-9D51-8E47-0188-7255CE1C41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6664" y="1832380"/>
            <a:ext cx="208076" cy="201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97767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В чем дело, коллега: типы конфликтов на работе | WDAY">
            <a:extLst>
              <a:ext uri="{FF2B5EF4-FFF2-40B4-BE49-F238E27FC236}">
                <a16:creationId xmlns:a16="http://schemas.microsoft.com/office/drawing/2014/main" id="{1A01757D-D72C-658A-79BB-0BCBF73C51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7227" y="0"/>
            <a:ext cx="82296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Прямоугольник: скругленные углы 8">
            <a:extLst>
              <a:ext uri="{FF2B5EF4-FFF2-40B4-BE49-F238E27FC236}">
                <a16:creationId xmlns:a16="http://schemas.microsoft.com/office/drawing/2014/main" id="{F4886E82-FEEC-846C-03FD-9C29541D1895}"/>
              </a:ext>
            </a:extLst>
          </p:cNvPr>
          <p:cNvSpPr/>
          <p:nvPr/>
        </p:nvSpPr>
        <p:spPr bwMode="auto">
          <a:xfrm flipH="1">
            <a:off x="-4" y="0"/>
            <a:ext cx="4572004" cy="5161346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/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CC5C8E88-C345-3558-3115-BCD6047067F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2609916" y="3767321"/>
            <a:ext cx="891992" cy="891992"/>
          </a:xfrm>
          <a:prstGeom prst="rect">
            <a:avLst/>
          </a:prstGeom>
        </p:spPr>
      </p:pic>
      <p:sp>
        <p:nvSpPr>
          <p:cNvPr id="28" name="Скругленный прямоугольник 27">
            <a:extLst>
              <a:ext uri="{FF2B5EF4-FFF2-40B4-BE49-F238E27FC236}">
                <a16:creationId xmlns:a16="http://schemas.microsoft.com/office/drawing/2014/main" id="{A993506E-AC09-A871-6F3B-76D512076634}"/>
              </a:ext>
            </a:extLst>
          </p:cNvPr>
          <p:cNvSpPr/>
          <p:nvPr/>
        </p:nvSpPr>
        <p:spPr bwMode="auto">
          <a:xfrm>
            <a:off x="328398" y="5922214"/>
            <a:ext cx="1728000" cy="1728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023FA83B-E0FE-43EC-828B-162B6FADFB8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3920" y="5255974"/>
            <a:ext cx="1636414" cy="1183692"/>
          </a:xfrm>
          <a:prstGeom prst="rect">
            <a:avLst/>
          </a:prstGeom>
        </p:spPr>
      </p:pic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40BF5D06-0B0F-4A21-953F-3C24ED942A44}"/>
              </a:ext>
            </a:extLst>
          </p:cNvPr>
          <p:cNvSpPr txBox="1">
            <a:spLocks/>
          </p:cNvSpPr>
          <p:nvPr/>
        </p:nvSpPr>
        <p:spPr>
          <a:xfrm>
            <a:off x="431800" y="242570"/>
            <a:ext cx="3882142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3200" b="1" dirty="0">
                <a:solidFill>
                  <a:schemeClr val="bg1"/>
                </a:solidFill>
              </a:rPr>
              <a:t>Что делать? </a:t>
            </a: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12B15461-CCB5-FA6A-D140-84D7FA2D7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775" y="-598092"/>
            <a:ext cx="8636400" cy="5292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0F28EFE-FC3F-97A4-2C6F-DFA305E3FB2B}"/>
              </a:ext>
            </a:extLst>
          </p:cNvPr>
          <p:cNvSpPr txBox="1">
            <a:spLocks/>
          </p:cNvSpPr>
          <p:nvPr/>
        </p:nvSpPr>
        <p:spPr>
          <a:xfrm>
            <a:off x="431800" y="1123139"/>
            <a:ext cx="35306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2000" dirty="0">
                <a:solidFill>
                  <a:schemeClr val="bg1"/>
                </a:solidFill>
              </a:rPr>
              <a:t>Как не попасть </a:t>
            </a:r>
            <a:br>
              <a:rPr lang="ru-RU" sz="2000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в капкан </a:t>
            </a:r>
            <a:r>
              <a:rPr lang="ru-RU" sz="2000" b="1" dirty="0">
                <a:solidFill>
                  <a:schemeClr val="bg1"/>
                </a:solidFill>
              </a:rPr>
              <a:t>«Одиночество» </a:t>
            </a:r>
            <a:br>
              <a:rPr lang="ru-RU" sz="2000" b="1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или выбраться из него?</a:t>
            </a:r>
          </a:p>
        </p:txBody>
      </p:sp>
    </p:spTree>
    <p:extLst>
      <p:ext uri="{BB962C8B-B14F-4D97-AF65-F5344CB8AC3E}">
        <p14:creationId xmlns:p14="http://schemas.microsoft.com/office/powerpoint/2010/main" val="1890116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8210" y="2875050"/>
            <a:ext cx="1833727" cy="646331"/>
          </a:xfr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00313C"/>
                </a:solidFill>
              </a:rPr>
              <a:t>Что такое выгорание и как его можно распознать</a:t>
            </a:r>
          </a:p>
        </p:txBody>
      </p: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D7A54460-51E4-42A6-80DE-17C24A560E9E}"/>
              </a:ext>
            </a:extLst>
          </p:cNvPr>
          <p:cNvSpPr/>
          <p:nvPr/>
        </p:nvSpPr>
        <p:spPr bwMode="auto">
          <a:xfrm>
            <a:off x="-201512" y="1"/>
            <a:ext cx="9345511" cy="1191232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80F5D9"/>
              </a:gs>
              <a:gs pos="71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1E6E8238-636D-4273-BB26-EB76F3337632}"/>
              </a:ext>
            </a:extLst>
          </p:cNvPr>
          <p:cNvSpPr txBox="1">
            <a:spLocks/>
          </p:cNvSpPr>
          <p:nvPr/>
        </p:nvSpPr>
        <p:spPr>
          <a:xfrm>
            <a:off x="422584" y="285002"/>
            <a:ext cx="7897015" cy="61555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b="1" kern="0" dirty="0">
                <a:solidFill>
                  <a:schemeClr val="bg1"/>
                </a:solidFill>
              </a:rPr>
              <a:t>Умение выявлять симптомы выгорания у себя </a:t>
            </a:r>
            <a:br>
              <a:rPr lang="ru-RU" sz="2000" b="1" kern="0" dirty="0">
                <a:solidFill>
                  <a:schemeClr val="bg1"/>
                </a:solidFill>
              </a:rPr>
            </a:br>
            <a:r>
              <a:rPr lang="ru-RU" sz="2000" b="1" kern="0" dirty="0">
                <a:solidFill>
                  <a:schemeClr val="bg1"/>
                </a:solidFill>
              </a:rPr>
              <a:t>и</a:t>
            </a:r>
            <a:r>
              <a:rPr lang="en-US" sz="2000" b="1" kern="0" dirty="0">
                <a:solidFill>
                  <a:schemeClr val="bg1"/>
                </a:solidFill>
              </a:rPr>
              <a:t> </a:t>
            </a:r>
            <a:r>
              <a:rPr lang="ru-RU" sz="2000" b="1" kern="0" dirty="0">
                <a:solidFill>
                  <a:schemeClr val="bg1"/>
                </a:solidFill>
              </a:rPr>
              <a:t>окружающих</a:t>
            </a:r>
            <a:r>
              <a:rPr lang="en-US" sz="2000" b="1" kern="0" dirty="0">
                <a:solidFill>
                  <a:schemeClr val="bg1"/>
                </a:solidFill>
              </a:rPr>
              <a:t> </a:t>
            </a:r>
            <a:r>
              <a:rPr lang="ru-RU" sz="2000" b="1" kern="0" dirty="0">
                <a:solidFill>
                  <a:schemeClr val="bg1"/>
                </a:solidFill>
              </a:rPr>
              <a:t>поможет их предотвратить или обезвредить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06609EB5-C6FB-41CB-8D6F-13D1C610FB3C}"/>
              </a:ext>
            </a:extLst>
          </p:cNvPr>
          <p:cNvSpPr txBox="1">
            <a:spLocks/>
          </p:cNvSpPr>
          <p:nvPr/>
        </p:nvSpPr>
        <p:spPr>
          <a:xfrm>
            <a:off x="431800" y="1418297"/>
            <a:ext cx="2889961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ru-RU"/>
            </a:defPPr>
            <a:lvl1pPr defTabSz="914400" fontAlgn="base">
              <a:spcBef>
                <a:spcPct val="0"/>
              </a:spcBef>
              <a:spcAft>
                <a:spcPct val="0"/>
              </a:spcAft>
              <a:defRPr sz="2000" ker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b="1" dirty="0">
                <a:gradFill>
                  <a:gsLst>
                    <a:gs pos="0">
                      <a:srgbClr val="80F5D9"/>
                    </a:gs>
                    <a:gs pos="85000">
                      <a:srgbClr val="008C95"/>
                    </a:gs>
                  </a:gsLst>
                  <a:lin ang="2700000" scaled="1"/>
                </a:gradFill>
              </a:rPr>
              <a:t>Сегодня вы узнаете:</a:t>
            </a:r>
          </a:p>
        </p:txBody>
      </p:sp>
      <p:pic>
        <p:nvPicPr>
          <p:cNvPr id="13" name="Рисунок 12" descr="Стрелка вправо со сплошной заливкой">
            <a:extLst>
              <a:ext uri="{FF2B5EF4-FFF2-40B4-BE49-F238E27FC236}">
                <a16:creationId xmlns:a16="http://schemas.microsoft.com/office/drawing/2014/main" id="{6E53C4AB-904C-26E4-4093-712F6CA5BCD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97296" y="5270683"/>
            <a:ext cx="914400" cy="914400"/>
          </a:xfrm>
          <a:prstGeom prst="rect">
            <a:avLst/>
          </a:prstGeom>
        </p:spPr>
      </p:pic>
      <p:pic>
        <p:nvPicPr>
          <p:cNvPr id="15" name="Рисунок 14" descr="Воспроизвести со сплошной заливкой">
            <a:extLst>
              <a:ext uri="{FF2B5EF4-FFF2-40B4-BE49-F238E27FC236}">
                <a16:creationId xmlns:a16="http://schemas.microsoft.com/office/drawing/2014/main" id="{7B734EF7-FC68-7739-7D93-6B58C44F947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797296" y="6032821"/>
            <a:ext cx="914400" cy="914400"/>
          </a:xfrm>
          <a:prstGeom prst="rect">
            <a:avLst/>
          </a:prstGeom>
        </p:spPr>
      </p:pic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84437127-DD69-B0E3-7B1B-0AA0821E1F72}"/>
              </a:ext>
            </a:extLst>
          </p:cNvPr>
          <p:cNvSpPr txBox="1">
            <a:spLocks/>
          </p:cNvSpPr>
          <p:nvPr/>
        </p:nvSpPr>
        <p:spPr>
          <a:xfrm>
            <a:off x="2461521" y="2875050"/>
            <a:ext cx="1833727" cy="861774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fontAlgn="base">
              <a:spcBef>
                <a:spcPct val="0"/>
              </a:spcBef>
              <a:spcAft>
                <a:spcPts val="600"/>
              </a:spcAft>
              <a:defRPr lang="ru-RU" sz="1400" smtClean="0"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dirty="0">
                <a:solidFill>
                  <a:srgbClr val="00313C"/>
                </a:solidFill>
              </a:rPr>
              <a:t>Какие факторы влияют на профессиональное выгорание</a:t>
            </a: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C5CC4022-0557-0B3B-E46B-C5B8AEC6F25B}"/>
              </a:ext>
            </a:extLst>
          </p:cNvPr>
          <p:cNvSpPr txBox="1">
            <a:spLocks/>
          </p:cNvSpPr>
          <p:nvPr/>
        </p:nvSpPr>
        <p:spPr>
          <a:xfrm>
            <a:off x="6599537" y="2875050"/>
            <a:ext cx="2180236" cy="107721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fontAlgn="base">
              <a:spcBef>
                <a:spcPct val="0"/>
              </a:spcBef>
              <a:spcAft>
                <a:spcPts val="600"/>
              </a:spcAft>
              <a:defRPr lang="ru-RU" sz="1400" smtClean="0"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dirty="0">
                <a:solidFill>
                  <a:srgbClr val="00313C"/>
                </a:solidFill>
              </a:rPr>
              <a:t>Какие </a:t>
            </a:r>
            <a:r>
              <a:rPr lang="ru-RU" dirty="0">
                <a:solidFill>
                  <a:srgbClr val="008C95"/>
                </a:solidFill>
              </a:rPr>
              <a:t>капканы выгорания </a:t>
            </a:r>
            <a:r>
              <a:rPr lang="ru-RU" dirty="0">
                <a:solidFill>
                  <a:srgbClr val="00313C"/>
                </a:solidFill>
              </a:rPr>
              <a:t>поджидают нас на пути профессионального развития, как их избежать или выбраться из них </a:t>
            </a: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92046589-3E10-C3EB-DF75-30A2044C8C12}"/>
              </a:ext>
            </a:extLst>
          </p:cNvPr>
          <p:cNvSpPr txBox="1">
            <a:spLocks/>
          </p:cNvSpPr>
          <p:nvPr/>
        </p:nvSpPr>
        <p:spPr>
          <a:xfrm>
            <a:off x="4426284" y="2875050"/>
            <a:ext cx="1833727" cy="43088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fontAlgn="base">
              <a:spcBef>
                <a:spcPct val="0"/>
              </a:spcBef>
              <a:spcAft>
                <a:spcPts val="600"/>
              </a:spcAft>
              <a:defRPr lang="ru-RU" sz="1400" smtClean="0"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dirty="0">
                <a:solidFill>
                  <a:srgbClr val="00313C"/>
                </a:solidFill>
              </a:rPr>
              <a:t>Как выгорают разные типы личности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0B402CA3-7A3F-BC6F-3CFC-56FAB014AE58}"/>
              </a:ext>
            </a:extLst>
          </p:cNvPr>
          <p:cNvCxnSpPr>
            <a:cxnSpLocks/>
          </p:cNvCxnSpPr>
          <p:nvPr/>
        </p:nvCxnSpPr>
        <p:spPr bwMode="auto">
          <a:xfrm>
            <a:off x="428210" y="2709675"/>
            <a:ext cx="141668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1112DD61-42C1-0B08-C997-3463EB3BF2ED}"/>
              </a:ext>
            </a:extLst>
          </p:cNvPr>
          <p:cNvCxnSpPr>
            <a:cxnSpLocks/>
          </p:cNvCxnSpPr>
          <p:nvPr/>
        </p:nvCxnSpPr>
        <p:spPr bwMode="auto">
          <a:xfrm>
            <a:off x="2461521" y="2707187"/>
            <a:ext cx="141668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2352DBD6-7715-E818-366E-9CD44402B1C8}"/>
              </a:ext>
            </a:extLst>
          </p:cNvPr>
          <p:cNvCxnSpPr>
            <a:cxnSpLocks/>
          </p:cNvCxnSpPr>
          <p:nvPr/>
        </p:nvCxnSpPr>
        <p:spPr bwMode="auto">
          <a:xfrm>
            <a:off x="4427455" y="2707187"/>
            <a:ext cx="141668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E15728F2-7FD7-67CB-B47D-4CD1B6232EAB}"/>
              </a:ext>
            </a:extLst>
          </p:cNvPr>
          <p:cNvCxnSpPr>
            <a:cxnSpLocks/>
          </p:cNvCxnSpPr>
          <p:nvPr/>
        </p:nvCxnSpPr>
        <p:spPr bwMode="auto">
          <a:xfrm>
            <a:off x="6599537" y="2707187"/>
            <a:ext cx="141668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05F374A1-955D-5F08-D7A5-AEF28F4BC2D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00" y="2423708"/>
            <a:ext cx="208076" cy="201167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62545331-C969-83FB-3AA5-148713ABD26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1793" y="2423708"/>
            <a:ext cx="208076" cy="201167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48272415-29E8-34C3-119D-F8B44355083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3597" y="2423708"/>
            <a:ext cx="208076" cy="201167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92D91249-2E23-3DEE-77F1-03C8942CCA6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596075" y="2439775"/>
            <a:ext cx="208524" cy="20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9616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: скругленные углы 8">
            <a:extLst>
              <a:ext uri="{FF2B5EF4-FFF2-40B4-BE49-F238E27FC236}">
                <a16:creationId xmlns:a16="http://schemas.microsoft.com/office/drawing/2014/main" id="{F4886E82-FEEC-846C-03FD-9C29541D1895}"/>
              </a:ext>
            </a:extLst>
          </p:cNvPr>
          <p:cNvSpPr/>
          <p:nvPr/>
        </p:nvSpPr>
        <p:spPr bwMode="auto">
          <a:xfrm flipH="1">
            <a:off x="-4" y="0"/>
            <a:ext cx="4572004" cy="5161346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/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CC5C8E88-C345-3558-3115-BCD6047067F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609916" y="3767321"/>
            <a:ext cx="891992" cy="891992"/>
          </a:xfrm>
          <a:prstGeom prst="rect">
            <a:avLst/>
          </a:prstGeom>
        </p:spPr>
      </p:pic>
      <p:sp>
        <p:nvSpPr>
          <p:cNvPr id="28" name="Скругленный прямоугольник 27">
            <a:extLst>
              <a:ext uri="{FF2B5EF4-FFF2-40B4-BE49-F238E27FC236}">
                <a16:creationId xmlns:a16="http://schemas.microsoft.com/office/drawing/2014/main" id="{A993506E-AC09-A871-6F3B-76D512076634}"/>
              </a:ext>
            </a:extLst>
          </p:cNvPr>
          <p:cNvSpPr/>
          <p:nvPr/>
        </p:nvSpPr>
        <p:spPr bwMode="auto">
          <a:xfrm>
            <a:off x="328398" y="5922214"/>
            <a:ext cx="1728000" cy="1728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023FA83B-E0FE-43EC-828B-162B6FADFB8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3920" y="5255974"/>
            <a:ext cx="1636414" cy="1183692"/>
          </a:xfrm>
          <a:prstGeom prst="rect">
            <a:avLst/>
          </a:prstGeom>
        </p:spPr>
      </p:pic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40BF5D06-0B0F-4A21-953F-3C24ED942A44}"/>
              </a:ext>
            </a:extLst>
          </p:cNvPr>
          <p:cNvSpPr txBox="1">
            <a:spLocks/>
          </p:cNvSpPr>
          <p:nvPr/>
        </p:nvSpPr>
        <p:spPr>
          <a:xfrm>
            <a:off x="431800" y="242570"/>
            <a:ext cx="3882142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3200" b="1" dirty="0">
                <a:solidFill>
                  <a:schemeClr val="bg1"/>
                </a:solidFill>
              </a:rPr>
              <a:t>Что делать? </a:t>
            </a: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12B15461-CCB5-FA6A-D140-84D7FA2D7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775" y="-598092"/>
            <a:ext cx="8636400" cy="5292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0F28EFE-FC3F-97A4-2C6F-DFA305E3FB2B}"/>
              </a:ext>
            </a:extLst>
          </p:cNvPr>
          <p:cNvSpPr txBox="1">
            <a:spLocks/>
          </p:cNvSpPr>
          <p:nvPr/>
        </p:nvSpPr>
        <p:spPr>
          <a:xfrm>
            <a:off x="431800" y="1123139"/>
            <a:ext cx="35306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2000" dirty="0">
                <a:solidFill>
                  <a:schemeClr val="bg1"/>
                </a:solidFill>
              </a:rPr>
              <a:t>Как не попасть </a:t>
            </a:r>
            <a:br>
              <a:rPr lang="ru-RU" sz="2000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в капкан </a:t>
            </a:r>
            <a:r>
              <a:rPr lang="ru-RU" sz="2000" b="1" dirty="0">
                <a:solidFill>
                  <a:schemeClr val="bg1"/>
                </a:solidFill>
              </a:rPr>
              <a:t>«Одиночество» </a:t>
            </a:r>
            <a:br>
              <a:rPr lang="ru-RU" sz="2000" b="1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или выбраться из него?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7AE754AF-78DB-F3E9-205E-532594E3A6FE}"/>
              </a:ext>
            </a:extLst>
          </p:cNvPr>
          <p:cNvSpPr txBox="1">
            <a:spLocks/>
          </p:cNvSpPr>
          <p:nvPr/>
        </p:nvSpPr>
        <p:spPr>
          <a:xfrm>
            <a:off x="5003805" y="2126818"/>
            <a:ext cx="3352795" cy="210826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defTabSz="914400" fontAlgn="base">
              <a:spcBef>
                <a:spcPct val="0"/>
              </a:spcBef>
              <a:spcAft>
                <a:spcPct val="0"/>
              </a:spcAft>
              <a:defRPr sz="2000" kern="0">
                <a:solidFill>
                  <a:srgbClr val="00313C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pPr>
              <a:spcAft>
                <a:spcPts val="1000"/>
              </a:spcAft>
            </a:pPr>
            <a:r>
              <a:rPr lang="ru-RU" sz="1400" b="1" dirty="0"/>
              <a:t>Создание на работе комфортных условий:</a:t>
            </a:r>
          </a:p>
          <a:p>
            <a:pPr marL="342900" indent="-342900">
              <a:spcAft>
                <a:spcPts val="1000"/>
              </a:spcAft>
              <a:buClr>
                <a:srgbClr val="008C95"/>
              </a:buClr>
              <a:buFont typeface="Arial" panose="020B0604020202020204" pitchFamily="34" charset="0"/>
              <a:buChar char="•"/>
            </a:pPr>
            <a:r>
              <a:rPr lang="ru-RU" sz="1400" dirty="0"/>
              <a:t>Увеличение количества позитивных коммуникаций</a:t>
            </a:r>
          </a:p>
          <a:p>
            <a:pPr marL="342900" indent="-342900">
              <a:spcAft>
                <a:spcPts val="1000"/>
              </a:spcAft>
              <a:buClr>
                <a:srgbClr val="008C95"/>
              </a:buClr>
              <a:buFont typeface="Arial" panose="020B0604020202020204" pitchFamily="34" charset="0"/>
              <a:buChar char="•"/>
            </a:pPr>
            <a:r>
              <a:rPr lang="ru-RU" sz="1400" dirty="0"/>
              <a:t>Активное общение с коллегами, помощь друг другу в решении рабочих задач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ru-RU" sz="1400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65AF3938-F055-8195-350C-10D397F92948}"/>
              </a:ext>
            </a:extLst>
          </p:cNvPr>
          <p:cNvSpPr txBox="1">
            <a:spLocks/>
          </p:cNvSpPr>
          <p:nvPr/>
        </p:nvSpPr>
        <p:spPr>
          <a:xfrm>
            <a:off x="5003804" y="242570"/>
            <a:ext cx="2627780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3200" b="1" kern="0" dirty="0"/>
              <a:t>Решение: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4F26BE7B-03EC-B1BF-B7E4-9E4B379CEE17}"/>
              </a:ext>
            </a:extLst>
          </p:cNvPr>
          <p:cNvCxnSpPr>
            <a:cxnSpLocks/>
          </p:cNvCxnSpPr>
          <p:nvPr/>
        </p:nvCxnSpPr>
        <p:spPr bwMode="auto">
          <a:xfrm>
            <a:off x="5003805" y="1934177"/>
            <a:ext cx="307339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8345542-0D76-34C2-5C5B-A93ED178553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5" y="1148047"/>
            <a:ext cx="902696" cy="689363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B6D3D3D5-5EF0-8030-8F1D-32FD0E9EDE2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2725" y="3370646"/>
            <a:ext cx="1790700" cy="179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48316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: скругленные углы 8">
            <a:extLst>
              <a:ext uri="{FF2B5EF4-FFF2-40B4-BE49-F238E27FC236}">
                <a16:creationId xmlns:a16="http://schemas.microsoft.com/office/drawing/2014/main" id="{19BE873B-4ECB-7604-56EF-3BBA4B5A8B51}"/>
              </a:ext>
            </a:extLst>
          </p:cNvPr>
          <p:cNvSpPr/>
          <p:nvPr/>
        </p:nvSpPr>
        <p:spPr bwMode="auto">
          <a:xfrm flipH="1">
            <a:off x="-1" y="-9453"/>
            <a:ext cx="9144001" cy="1237833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8" name="Овал 37">
            <a:extLst>
              <a:ext uri="{FF2B5EF4-FFF2-40B4-BE49-F238E27FC236}">
                <a16:creationId xmlns:a16="http://schemas.microsoft.com/office/drawing/2014/main" id="{0F5253DD-B0E9-441C-42E7-04643599FB39}"/>
              </a:ext>
            </a:extLst>
          </p:cNvPr>
          <p:cNvSpPr/>
          <p:nvPr/>
        </p:nvSpPr>
        <p:spPr bwMode="auto">
          <a:xfrm>
            <a:off x="7133617" y="4276778"/>
            <a:ext cx="1841769" cy="495278"/>
          </a:xfrm>
          <a:prstGeom prst="ellipse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82E89CB-5C42-4CF7-8A92-D72F68A89020}"/>
              </a:ext>
            </a:extLst>
          </p:cNvPr>
          <p:cNvSpPr txBox="1">
            <a:spLocks/>
          </p:cNvSpPr>
          <p:nvPr/>
        </p:nvSpPr>
        <p:spPr>
          <a:xfrm>
            <a:off x="3194231" y="2215659"/>
            <a:ext cx="2258301" cy="185178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marL="285750" indent="-285750" defTabSz="914400" fontAlgn="base">
              <a:spcBef>
                <a:spcPct val="0"/>
              </a:spcBef>
              <a:spcAft>
                <a:spcPts val="1000"/>
              </a:spcAft>
              <a:buClr>
                <a:srgbClr val="80F5D9"/>
              </a:buClr>
              <a:buFont typeface="Arial" panose="020B0604020202020204" pitchFamily="34" charset="0"/>
              <a:buChar char="•"/>
              <a:defRPr sz="1400" kern="0">
                <a:solidFill>
                  <a:srgbClr val="00313C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dirty="0"/>
              <a:t>Сомнение </a:t>
            </a:r>
            <a:br>
              <a:rPr lang="ru-RU" dirty="0"/>
            </a:br>
            <a:r>
              <a:rPr lang="ru-RU" dirty="0"/>
              <a:t>в необходимости </a:t>
            </a:r>
            <a:br>
              <a:rPr lang="ru-RU" dirty="0"/>
            </a:br>
            <a:r>
              <a:rPr lang="ru-RU" dirty="0"/>
              <a:t>и полезности своей деятельности.</a:t>
            </a:r>
          </a:p>
          <a:p>
            <a:r>
              <a:rPr lang="ru-RU" dirty="0"/>
              <a:t>«Я вкладываю всю душу, а со мной так. Так зачем мне все это?» </a:t>
            </a: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4E9D7BA-7B7D-443A-9C80-68F4F3E76B31}"/>
              </a:ext>
            </a:extLst>
          </p:cNvPr>
          <p:cNvSpPr txBox="1">
            <a:spLocks/>
          </p:cNvSpPr>
          <p:nvPr/>
        </p:nvSpPr>
        <p:spPr>
          <a:xfrm>
            <a:off x="5808856" y="2215659"/>
            <a:ext cx="2173856" cy="99001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marL="285750" indent="-285750" defTabSz="914400" fontAlgn="base">
              <a:spcBef>
                <a:spcPct val="0"/>
              </a:spcBef>
              <a:spcAft>
                <a:spcPts val="1000"/>
              </a:spcAft>
              <a:buClr>
                <a:srgbClr val="80F5D9"/>
              </a:buClr>
              <a:buFont typeface="Arial" panose="020B0604020202020204" pitchFamily="34" charset="0"/>
              <a:buChar char="•"/>
              <a:defRPr sz="1400" kern="0">
                <a:solidFill>
                  <a:srgbClr val="00313C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dirty="0"/>
              <a:t>Снижение самооценки</a:t>
            </a:r>
          </a:p>
          <a:p>
            <a:r>
              <a:rPr lang="ru-RU" dirty="0"/>
              <a:t>Формальное исполнение своих обязанностей</a:t>
            </a:r>
          </a:p>
        </p:txBody>
      </p:sp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E2D39604-2B04-C9BD-5DC7-1C3325E57C01}"/>
              </a:ext>
            </a:extLst>
          </p:cNvPr>
          <p:cNvSpPr txBox="1">
            <a:spLocks/>
          </p:cNvSpPr>
          <p:nvPr/>
        </p:nvSpPr>
        <p:spPr>
          <a:xfrm>
            <a:off x="431800" y="414364"/>
            <a:ext cx="7162800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b="1" kern="0" dirty="0">
                <a:solidFill>
                  <a:schemeClr val="bg1"/>
                </a:solidFill>
              </a:rPr>
              <a:t>Капкан </a:t>
            </a:r>
            <a:r>
              <a:rPr lang="ru-RU" sz="3200" b="1" kern="0" dirty="0">
                <a:solidFill>
                  <a:schemeClr val="bg1"/>
                </a:solidFill>
              </a:rPr>
              <a:t>«РЕАКЦИЯ НА КРИТИКУ» </a:t>
            </a: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CD4E879D-4369-60F9-C535-44BC04979498}"/>
              </a:ext>
            </a:extLst>
          </p:cNvPr>
          <p:cNvSpPr txBox="1">
            <a:spLocks/>
          </p:cNvSpPr>
          <p:nvPr/>
        </p:nvSpPr>
        <p:spPr>
          <a:xfrm>
            <a:off x="431800" y="1361277"/>
            <a:ext cx="1521196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kern="0" dirty="0"/>
              <a:t>Признаки:</a:t>
            </a:r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9EF99055-2D61-9188-A6C4-DDAC85175F24}"/>
              </a:ext>
            </a:extLst>
          </p:cNvPr>
          <p:cNvSpPr txBox="1">
            <a:spLocks/>
          </p:cNvSpPr>
          <p:nvPr/>
        </p:nvSpPr>
        <p:spPr>
          <a:xfrm>
            <a:off x="431800" y="764745"/>
            <a:ext cx="4473748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endParaRPr lang="ru-RU" sz="2000" b="1" kern="0" dirty="0">
              <a:solidFill>
                <a:schemeClr val="bg1"/>
              </a:solidFill>
            </a:endParaRP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F0386D88-4870-AD63-7BFD-6714AC032257}"/>
              </a:ext>
            </a:extLst>
          </p:cNvPr>
          <p:cNvSpPr txBox="1">
            <a:spLocks/>
          </p:cNvSpPr>
          <p:nvPr/>
        </p:nvSpPr>
        <p:spPr>
          <a:xfrm>
            <a:off x="431800" y="2215659"/>
            <a:ext cx="1954784" cy="210826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defTabSz="914400">
              <a:spcAft>
                <a:spcPts val="1000"/>
              </a:spcAft>
              <a:buClr>
                <a:srgbClr val="80F5D9"/>
              </a:buClr>
              <a:buFont typeface="Arial" panose="020B0604020202020204" pitchFamily="34" charset="0"/>
              <a:buChar char="•"/>
            </a:pPr>
            <a:r>
              <a:rPr lang="ru-RU" sz="1400" kern="0" dirty="0">
                <a:solidFill>
                  <a:srgbClr val="00313C"/>
                </a:solidFill>
              </a:rPr>
              <a:t>Работаю, допускаю ошибки</a:t>
            </a:r>
          </a:p>
          <a:p>
            <a:pPr marL="285750" indent="-285750" defTabSz="914400">
              <a:spcAft>
                <a:spcPts val="1000"/>
              </a:spcAft>
              <a:buClr>
                <a:srgbClr val="80F5D9"/>
              </a:buClr>
              <a:buFont typeface="Arial" panose="020B0604020202020204" pitchFamily="34" charset="0"/>
              <a:buChar char="•"/>
            </a:pPr>
            <a:r>
              <a:rPr lang="ru-RU" sz="1400" kern="0" dirty="0">
                <a:solidFill>
                  <a:srgbClr val="00313C"/>
                </a:solidFill>
              </a:rPr>
              <a:t>Получаю корректирующую обратную связь от руководства</a:t>
            </a:r>
          </a:p>
          <a:p>
            <a:pPr marL="285750" indent="-285750" defTabSz="914400">
              <a:spcAft>
                <a:spcPts val="1000"/>
              </a:spcAft>
              <a:buClr>
                <a:srgbClr val="80F5D9"/>
              </a:buClr>
              <a:buFont typeface="Arial" panose="020B0604020202020204" pitchFamily="34" charset="0"/>
              <a:buChar char="•"/>
            </a:pPr>
            <a:r>
              <a:rPr lang="ru-RU" sz="1400" kern="0" dirty="0">
                <a:solidFill>
                  <a:srgbClr val="00313C"/>
                </a:solidFill>
              </a:rPr>
              <a:t>«Вешаю нос»</a:t>
            </a:r>
          </a:p>
          <a:p>
            <a:pPr marL="285750" indent="-285750" defTabSz="914400">
              <a:spcAft>
                <a:spcPts val="1000"/>
              </a:spcAft>
              <a:buClr>
                <a:srgbClr val="80F5D9"/>
              </a:buClr>
              <a:buFont typeface="Arial" panose="020B0604020202020204" pitchFamily="34" charset="0"/>
              <a:buChar char="•"/>
            </a:pPr>
            <a:endParaRPr lang="ru-RU" sz="1400" kern="0" dirty="0">
              <a:solidFill>
                <a:srgbClr val="00313C"/>
              </a:solidFill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D565B0A7-CB30-C5CC-DEA5-B450DD0B9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5" y="-652031"/>
            <a:ext cx="8636400" cy="529200"/>
          </a:xfrm>
        </p:spPr>
        <p:txBody>
          <a:bodyPr/>
          <a:lstStyle/>
          <a:p>
            <a:endParaRPr lang="ru-RU" dirty="0"/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00CB968B-5A8E-AF4B-2667-31724CB10655}"/>
              </a:ext>
            </a:extLst>
          </p:cNvPr>
          <p:cNvCxnSpPr>
            <a:cxnSpLocks/>
          </p:cNvCxnSpPr>
          <p:nvPr/>
        </p:nvCxnSpPr>
        <p:spPr bwMode="auto">
          <a:xfrm>
            <a:off x="431800" y="2127217"/>
            <a:ext cx="195478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9ACB99D8-ABF9-A7C4-AA49-38F0CD61F30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00" y="1832380"/>
            <a:ext cx="208076" cy="201167"/>
          </a:xfrm>
          <a:prstGeom prst="rect">
            <a:avLst/>
          </a:prstGeom>
        </p:spPr>
      </p:pic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69FB6202-9056-0F33-E701-9EE33B1AE8B2}"/>
              </a:ext>
            </a:extLst>
          </p:cNvPr>
          <p:cNvCxnSpPr>
            <a:cxnSpLocks/>
          </p:cNvCxnSpPr>
          <p:nvPr/>
        </p:nvCxnSpPr>
        <p:spPr bwMode="auto">
          <a:xfrm>
            <a:off x="3194232" y="2127217"/>
            <a:ext cx="204074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CAC84013-46C6-A929-7C1B-80E6632438C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4232" y="1832380"/>
            <a:ext cx="208076" cy="201167"/>
          </a:xfrm>
          <a:prstGeom prst="rect">
            <a:avLst/>
          </a:prstGeom>
        </p:spPr>
      </p:pic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9718A90D-3554-E141-1E81-290908349F22}"/>
              </a:ext>
            </a:extLst>
          </p:cNvPr>
          <p:cNvCxnSpPr>
            <a:cxnSpLocks/>
          </p:cNvCxnSpPr>
          <p:nvPr/>
        </p:nvCxnSpPr>
        <p:spPr bwMode="auto">
          <a:xfrm>
            <a:off x="5808856" y="2127217"/>
            <a:ext cx="204584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2F9AD501-9D51-8E47-0188-7255CE1C411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8856" y="1832380"/>
            <a:ext cx="208076" cy="201167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23021F4-9EFA-63FA-35DF-129592FE62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8362" y="3286920"/>
            <a:ext cx="1028700" cy="133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73118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Критика и похвала на работе: как и что делать на публике, а что - только в  личном общении">
            <a:extLst>
              <a:ext uri="{FF2B5EF4-FFF2-40B4-BE49-F238E27FC236}">
                <a16:creationId xmlns:a16="http://schemas.microsoft.com/office/drawing/2014/main" id="{EF1C567B-E7DE-B1AA-8E26-E917DA6A1D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6767" y="0"/>
            <a:ext cx="9806873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Прямоугольник: скругленные углы 8">
            <a:extLst>
              <a:ext uri="{FF2B5EF4-FFF2-40B4-BE49-F238E27FC236}">
                <a16:creationId xmlns:a16="http://schemas.microsoft.com/office/drawing/2014/main" id="{F4886E82-FEEC-846C-03FD-9C29541D1895}"/>
              </a:ext>
            </a:extLst>
          </p:cNvPr>
          <p:cNvSpPr/>
          <p:nvPr/>
        </p:nvSpPr>
        <p:spPr bwMode="auto">
          <a:xfrm flipH="1">
            <a:off x="-4" y="0"/>
            <a:ext cx="4572004" cy="5161346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/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CC5C8E88-C345-3558-3115-BCD6047067F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2609916" y="3767321"/>
            <a:ext cx="891992" cy="891992"/>
          </a:xfrm>
          <a:prstGeom prst="rect">
            <a:avLst/>
          </a:prstGeom>
        </p:spPr>
      </p:pic>
      <p:sp>
        <p:nvSpPr>
          <p:cNvPr id="28" name="Скругленный прямоугольник 27">
            <a:extLst>
              <a:ext uri="{FF2B5EF4-FFF2-40B4-BE49-F238E27FC236}">
                <a16:creationId xmlns:a16="http://schemas.microsoft.com/office/drawing/2014/main" id="{A993506E-AC09-A871-6F3B-76D512076634}"/>
              </a:ext>
            </a:extLst>
          </p:cNvPr>
          <p:cNvSpPr/>
          <p:nvPr/>
        </p:nvSpPr>
        <p:spPr bwMode="auto">
          <a:xfrm>
            <a:off x="328398" y="5922214"/>
            <a:ext cx="1728000" cy="1728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023FA83B-E0FE-43EC-828B-162B6FADFB8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3920" y="5255974"/>
            <a:ext cx="1636414" cy="1183692"/>
          </a:xfrm>
          <a:prstGeom prst="rect">
            <a:avLst/>
          </a:prstGeom>
        </p:spPr>
      </p:pic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40BF5D06-0B0F-4A21-953F-3C24ED942A44}"/>
              </a:ext>
            </a:extLst>
          </p:cNvPr>
          <p:cNvSpPr txBox="1">
            <a:spLocks/>
          </p:cNvSpPr>
          <p:nvPr/>
        </p:nvSpPr>
        <p:spPr>
          <a:xfrm>
            <a:off x="431800" y="242570"/>
            <a:ext cx="3882142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3200" b="1" dirty="0">
                <a:solidFill>
                  <a:schemeClr val="bg1"/>
                </a:solidFill>
              </a:rPr>
              <a:t>Что делать? </a:t>
            </a: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12B15461-CCB5-FA6A-D140-84D7FA2D7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775" y="-598092"/>
            <a:ext cx="8636400" cy="5292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0F28EFE-FC3F-97A4-2C6F-DFA305E3FB2B}"/>
              </a:ext>
            </a:extLst>
          </p:cNvPr>
          <p:cNvSpPr txBox="1">
            <a:spLocks/>
          </p:cNvSpPr>
          <p:nvPr/>
        </p:nvSpPr>
        <p:spPr>
          <a:xfrm>
            <a:off x="431800" y="1123139"/>
            <a:ext cx="4140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2000" dirty="0">
                <a:solidFill>
                  <a:schemeClr val="bg1"/>
                </a:solidFill>
              </a:rPr>
              <a:t>Как не попасть </a:t>
            </a:r>
            <a:br>
              <a:rPr lang="ru-RU" sz="2000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в капкан </a:t>
            </a:r>
            <a:r>
              <a:rPr lang="ru-RU" sz="2000" b="1" dirty="0">
                <a:solidFill>
                  <a:schemeClr val="bg1"/>
                </a:solidFill>
              </a:rPr>
              <a:t>«Реакция на критику» </a:t>
            </a:r>
            <a:br>
              <a:rPr lang="ru-RU" sz="2000" b="1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или выбраться из него?</a:t>
            </a:r>
          </a:p>
        </p:txBody>
      </p:sp>
    </p:spTree>
    <p:extLst>
      <p:ext uri="{BB962C8B-B14F-4D97-AF65-F5344CB8AC3E}">
        <p14:creationId xmlns:p14="http://schemas.microsoft.com/office/powerpoint/2010/main" val="224732801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: скругленные углы 8">
            <a:extLst>
              <a:ext uri="{FF2B5EF4-FFF2-40B4-BE49-F238E27FC236}">
                <a16:creationId xmlns:a16="http://schemas.microsoft.com/office/drawing/2014/main" id="{F4886E82-FEEC-846C-03FD-9C29541D1895}"/>
              </a:ext>
            </a:extLst>
          </p:cNvPr>
          <p:cNvSpPr/>
          <p:nvPr/>
        </p:nvSpPr>
        <p:spPr bwMode="auto">
          <a:xfrm flipH="1">
            <a:off x="-4" y="0"/>
            <a:ext cx="4572004" cy="5161346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/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CC5C8E88-C345-3558-3115-BCD6047067F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609916" y="3767321"/>
            <a:ext cx="891992" cy="891992"/>
          </a:xfrm>
          <a:prstGeom prst="rect">
            <a:avLst/>
          </a:prstGeom>
        </p:spPr>
      </p:pic>
      <p:sp>
        <p:nvSpPr>
          <p:cNvPr id="28" name="Скругленный прямоугольник 27">
            <a:extLst>
              <a:ext uri="{FF2B5EF4-FFF2-40B4-BE49-F238E27FC236}">
                <a16:creationId xmlns:a16="http://schemas.microsoft.com/office/drawing/2014/main" id="{A993506E-AC09-A871-6F3B-76D512076634}"/>
              </a:ext>
            </a:extLst>
          </p:cNvPr>
          <p:cNvSpPr/>
          <p:nvPr/>
        </p:nvSpPr>
        <p:spPr bwMode="auto">
          <a:xfrm>
            <a:off x="328398" y="5922214"/>
            <a:ext cx="1728000" cy="1728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023FA83B-E0FE-43EC-828B-162B6FADFB8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3920" y="5255974"/>
            <a:ext cx="1636414" cy="1183692"/>
          </a:xfrm>
          <a:prstGeom prst="rect">
            <a:avLst/>
          </a:prstGeom>
        </p:spPr>
      </p:pic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40BF5D06-0B0F-4A21-953F-3C24ED942A44}"/>
              </a:ext>
            </a:extLst>
          </p:cNvPr>
          <p:cNvSpPr txBox="1">
            <a:spLocks/>
          </p:cNvSpPr>
          <p:nvPr/>
        </p:nvSpPr>
        <p:spPr>
          <a:xfrm>
            <a:off x="431800" y="242570"/>
            <a:ext cx="3882142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3200" b="1" dirty="0">
                <a:solidFill>
                  <a:schemeClr val="bg1"/>
                </a:solidFill>
              </a:rPr>
              <a:t>Что делать? </a:t>
            </a: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12B15461-CCB5-FA6A-D140-84D7FA2D7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775" y="-598092"/>
            <a:ext cx="8636400" cy="5292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0F28EFE-FC3F-97A4-2C6F-DFA305E3FB2B}"/>
              </a:ext>
            </a:extLst>
          </p:cNvPr>
          <p:cNvSpPr txBox="1">
            <a:spLocks/>
          </p:cNvSpPr>
          <p:nvPr/>
        </p:nvSpPr>
        <p:spPr>
          <a:xfrm>
            <a:off x="431800" y="1123139"/>
            <a:ext cx="4140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2000" dirty="0">
                <a:solidFill>
                  <a:schemeClr val="bg1"/>
                </a:solidFill>
              </a:rPr>
              <a:t>Как не попасть </a:t>
            </a:r>
            <a:br>
              <a:rPr lang="ru-RU" sz="2000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в капкан </a:t>
            </a:r>
            <a:r>
              <a:rPr lang="ru-RU" sz="2000" b="1" dirty="0">
                <a:solidFill>
                  <a:schemeClr val="bg1"/>
                </a:solidFill>
              </a:rPr>
              <a:t>«Реакция на критику» </a:t>
            </a:r>
            <a:br>
              <a:rPr lang="ru-RU" sz="2000" b="1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или выбраться из него?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7AE754AF-78DB-F3E9-205E-532594E3A6FE}"/>
              </a:ext>
            </a:extLst>
          </p:cNvPr>
          <p:cNvSpPr txBox="1">
            <a:spLocks/>
          </p:cNvSpPr>
          <p:nvPr/>
        </p:nvSpPr>
        <p:spPr>
          <a:xfrm>
            <a:off x="5003805" y="2126818"/>
            <a:ext cx="3352795" cy="189282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defTabSz="914400" fontAlgn="base">
              <a:spcBef>
                <a:spcPct val="0"/>
              </a:spcBef>
              <a:spcAft>
                <a:spcPct val="0"/>
              </a:spcAft>
              <a:defRPr sz="2000" kern="0">
                <a:solidFill>
                  <a:srgbClr val="00313C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pPr marL="342900" indent="-342900">
              <a:spcAft>
                <a:spcPts val="1000"/>
              </a:spcAft>
              <a:buClr>
                <a:srgbClr val="008C95"/>
              </a:buClr>
              <a:buFont typeface="Arial" panose="020B0604020202020204" pitchFamily="34" charset="0"/>
              <a:buChar char="•"/>
            </a:pPr>
            <a:r>
              <a:rPr lang="ru-RU" sz="1400" dirty="0"/>
              <a:t>Здоровая самооценка</a:t>
            </a:r>
          </a:p>
          <a:p>
            <a:pPr marL="342900" indent="-342900">
              <a:spcAft>
                <a:spcPts val="1000"/>
              </a:spcAft>
              <a:buClr>
                <a:srgbClr val="008C95"/>
              </a:buClr>
              <a:buFont typeface="Arial" panose="020B0604020202020204" pitchFamily="34" charset="0"/>
              <a:buChar char="•"/>
            </a:pPr>
            <a:r>
              <a:rPr lang="ru-RU" sz="1400" dirty="0"/>
              <a:t>Благодарность за обратную связь</a:t>
            </a:r>
          </a:p>
          <a:p>
            <a:pPr marL="342900" indent="-342900">
              <a:spcAft>
                <a:spcPts val="1000"/>
              </a:spcAft>
              <a:buClr>
                <a:srgbClr val="008C95"/>
              </a:buClr>
              <a:buFont typeface="Arial" panose="020B0604020202020204" pitchFamily="34" charset="0"/>
              <a:buChar char="•"/>
            </a:pPr>
            <a:r>
              <a:rPr lang="ru-RU" sz="1400" dirty="0"/>
              <a:t>«Я могу ошибаться и, благодаря опыту, корректировать свои действия и приближаться к своим личным и рабочим целям»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ru-RU" sz="1400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65AF3938-F055-8195-350C-10D397F92948}"/>
              </a:ext>
            </a:extLst>
          </p:cNvPr>
          <p:cNvSpPr txBox="1">
            <a:spLocks/>
          </p:cNvSpPr>
          <p:nvPr/>
        </p:nvSpPr>
        <p:spPr>
          <a:xfrm>
            <a:off x="5003804" y="242570"/>
            <a:ext cx="2627780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3200" b="1" kern="0" dirty="0"/>
              <a:t>Решение: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4F26BE7B-03EC-B1BF-B7E4-9E4B379CEE17}"/>
              </a:ext>
            </a:extLst>
          </p:cNvPr>
          <p:cNvCxnSpPr>
            <a:cxnSpLocks/>
          </p:cNvCxnSpPr>
          <p:nvPr/>
        </p:nvCxnSpPr>
        <p:spPr bwMode="auto">
          <a:xfrm>
            <a:off x="5003805" y="1934177"/>
            <a:ext cx="307339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BEF680A-DD75-23E0-B827-279441F52E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805" y="1169505"/>
            <a:ext cx="754176" cy="689364"/>
          </a:xfrm>
          <a:prstGeom prst="rect">
            <a:avLst/>
          </a:prstGeom>
        </p:spPr>
      </p:pic>
      <p:pic>
        <p:nvPicPr>
          <p:cNvPr id="15" name="Рисунок 14" descr="Комментарий &quot;Сердце&quot; контур">
            <a:extLst>
              <a:ext uri="{FF2B5EF4-FFF2-40B4-BE49-F238E27FC236}">
                <a16:creationId xmlns:a16="http://schemas.microsoft.com/office/drawing/2014/main" id="{EA1F6B5A-8C3C-F6B4-8CBE-8CF65C5A6FC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>
            <a:off x="113298" y="2952343"/>
            <a:ext cx="2134602" cy="2134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20095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988EF451-B2BA-B520-99BB-915193017739}"/>
              </a:ext>
            </a:extLst>
          </p:cNvPr>
          <p:cNvSpPr/>
          <p:nvPr/>
        </p:nvSpPr>
        <p:spPr bwMode="auto">
          <a:xfrm>
            <a:off x="0" y="-23170"/>
            <a:ext cx="9144000" cy="5583711"/>
          </a:xfrm>
          <a:prstGeom prst="rect">
            <a:avLst/>
          </a:prstGeom>
          <a:solidFill>
            <a:srgbClr val="00313C">
              <a:alpha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03E6F5FB-2428-1D6C-E814-990308F095CE}"/>
              </a:ext>
            </a:extLst>
          </p:cNvPr>
          <p:cNvSpPr/>
          <p:nvPr/>
        </p:nvSpPr>
        <p:spPr bwMode="auto">
          <a:xfrm>
            <a:off x="0" y="1051"/>
            <a:ext cx="11121887" cy="5351386"/>
          </a:xfrm>
          <a:prstGeom prst="rect">
            <a:avLst/>
          </a:prstGeom>
          <a:gradFill flip="none" rotWithShape="1">
            <a:gsLst>
              <a:gs pos="17000">
                <a:srgbClr val="00313C"/>
              </a:gs>
              <a:gs pos="80000">
                <a:srgbClr val="00313C">
                  <a:alpha val="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15CBA737-174C-4E71-B85C-F5505A009E8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-4434" t="36721" r="15414" b="-1005"/>
          <a:stretch/>
        </p:blipFill>
        <p:spPr>
          <a:xfrm rot="10364571">
            <a:off x="1946035" y="1789806"/>
            <a:ext cx="2041763" cy="1644872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A130AF3-5133-452F-B3FD-1EFE30F6568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-5003" t="36721" r="15415" b="-291"/>
          <a:stretch/>
        </p:blipFill>
        <p:spPr>
          <a:xfrm rot="21256944">
            <a:off x="1419335" y="2517079"/>
            <a:ext cx="2054794" cy="1626580"/>
          </a:xfrm>
          <a:prstGeom prst="rect">
            <a:avLst/>
          </a:prstGeom>
        </p:spPr>
      </p:pic>
      <p:sp>
        <p:nvSpPr>
          <p:cNvPr id="2" name="Овал 1">
            <a:extLst>
              <a:ext uri="{FF2B5EF4-FFF2-40B4-BE49-F238E27FC236}">
                <a16:creationId xmlns:a16="http://schemas.microsoft.com/office/drawing/2014/main" id="{25BAF531-0942-5697-98B0-8C56CDEFEF33}"/>
              </a:ext>
            </a:extLst>
          </p:cNvPr>
          <p:cNvSpPr/>
          <p:nvPr/>
        </p:nvSpPr>
        <p:spPr bwMode="auto">
          <a:xfrm>
            <a:off x="6601311" y="2540889"/>
            <a:ext cx="1881202" cy="2151666"/>
          </a:xfrm>
          <a:custGeom>
            <a:avLst/>
            <a:gdLst>
              <a:gd name="connsiteX0" fmla="*/ 0 w 1554900"/>
              <a:gd name="connsiteY0" fmla="*/ 777450 h 1554900"/>
              <a:gd name="connsiteX1" fmla="*/ 777450 w 1554900"/>
              <a:gd name="connsiteY1" fmla="*/ 0 h 1554900"/>
              <a:gd name="connsiteX2" fmla="*/ 1554900 w 1554900"/>
              <a:gd name="connsiteY2" fmla="*/ 777450 h 1554900"/>
              <a:gd name="connsiteX3" fmla="*/ 777450 w 1554900"/>
              <a:gd name="connsiteY3" fmla="*/ 1554900 h 1554900"/>
              <a:gd name="connsiteX4" fmla="*/ 0 w 1554900"/>
              <a:gd name="connsiteY4" fmla="*/ 777450 h 1554900"/>
              <a:gd name="connsiteX0" fmla="*/ 326302 w 1881202"/>
              <a:gd name="connsiteY0" fmla="*/ 777450 h 2151666"/>
              <a:gd name="connsiteX1" fmla="*/ 1103752 w 1881202"/>
              <a:gd name="connsiteY1" fmla="*/ 0 h 2151666"/>
              <a:gd name="connsiteX2" fmla="*/ 1881202 w 1881202"/>
              <a:gd name="connsiteY2" fmla="*/ 777450 h 2151666"/>
              <a:gd name="connsiteX3" fmla="*/ 189352 w 1881202"/>
              <a:gd name="connsiteY3" fmla="*/ 2151666 h 2151666"/>
              <a:gd name="connsiteX4" fmla="*/ 326302 w 1881202"/>
              <a:gd name="connsiteY4" fmla="*/ 777450 h 2151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81202" h="2151666">
                <a:moveTo>
                  <a:pt x="326302" y="777450"/>
                </a:moveTo>
                <a:cubicBezTo>
                  <a:pt x="478702" y="418839"/>
                  <a:pt x="674378" y="0"/>
                  <a:pt x="1103752" y="0"/>
                </a:cubicBezTo>
                <a:cubicBezTo>
                  <a:pt x="1533126" y="0"/>
                  <a:pt x="1881202" y="348076"/>
                  <a:pt x="1881202" y="777450"/>
                </a:cubicBezTo>
                <a:cubicBezTo>
                  <a:pt x="1881202" y="1206824"/>
                  <a:pt x="618726" y="2151666"/>
                  <a:pt x="189352" y="2151666"/>
                </a:cubicBezTo>
                <a:cubicBezTo>
                  <a:pt x="-240022" y="2151666"/>
                  <a:pt x="173902" y="1136061"/>
                  <a:pt x="326302" y="777450"/>
                </a:cubicBezTo>
                <a:close/>
              </a:path>
            </a:pathLst>
          </a:custGeom>
          <a:solidFill>
            <a:schemeClr val="bg1">
              <a:alpha val="61133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chemeClr val="bg1"/>
            </a:outerShdw>
            <a:softEdge rad="411909"/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D5ABA61-397F-4B7A-BE7D-33DDFA7F8FE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6534442" y="2571750"/>
            <a:ext cx="3005333" cy="2662703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F1E0F10-2B11-5D00-85F4-6494DEA897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57678" y="4789152"/>
            <a:ext cx="1042853" cy="348704"/>
          </a:xfrm>
          <a:prstGeom prst="rect">
            <a:avLst/>
          </a:prstGeom>
          <a:ln w="0">
            <a:noFill/>
          </a:ln>
        </p:spPr>
      </p:pic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0437964B-892E-413C-9823-E58AA219AFB3}"/>
              </a:ext>
            </a:extLst>
          </p:cNvPr>
          <p:cNvSpPr txBox="1">
            <a:spLocks/>
          </p:cNvSpPr>
          <p:nvPr/>
        </p:nvSpPr>
        <p:spPr>
          <a:xfrm>
            <a:off x="431800" y="4428917"/>
            <a:ext cx="3403723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kern="0" dirty="0">
                <a:solidFill>
                  <a:schemeClr val="bg1"/>
                </a:solidFill>
              </a:rPr>
              <a:t>Зона выживания </a:t>
            </a: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50BF762E-4E81-432A-9717-E0CE7E3A553F}"/>
              </a:ext>
            </a:extLst>
          </p:cNvPr>
          <p:cNvSpPr txBox="1">
            <a:spLocks/>
          </p:cNvSpPr>
          <p:nvPr/>
        </p:nvSpPr>
        <p:spPr>
          <a:xfrm>
            <a:off x="3209726" y="4416547"/>
            <a:ext cx="2910403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kern="0" dirty="0">
                <a:solidFill>
                  <a:schemeClr val="bg1"/>
                </a:solidFill>
              </a:rPr>
              <a:t>Зона выгорания </a:t>
            </a:r>
          </a:p>
        </p:txBody>
      </p:sp>
      <p:sp>
        <p:nvSpPr>
          <p:cNvPr id="29" name="Заголовок 1">
            <a:extLst>
              <a:ext uri="{FF2B5EF4-FFF2-40B4-BE49-F238E27FC236}">
                <a16:creationId xmlns:a16="http://schemas.microsoft.com/office/drawing/2014/main" id="{8E6FA1E1-18A2-4807-996D-3ED9DBB22D18}"/>
              </a:ext>
            </a:extLst>
          </p:cNvPr>
          <p:cNvSpPr txBox="1">
            <a:spLocks/>
          </p:cNvSpPr>
          <p:nvPr/>
        </p:nvSpPr>
        <p:spPr>
          <a:xfrm>
            <a:off x="2643323" y="3219471"/>
            <a:ext cx="2671198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kern="0" dirty="0">
                <a:solidFill>
                  <a:schemeClr val="bg1"/>
                </a:solidFill>
              </a:rPr>
              <a:t>Зона восстановления 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225CEADB-03D3-4264-B445-812A0B3E65CD}"/>
              </a:ext>
            </a:extLst>
          </p:cNvPr>
          <p:cNvSpPr txBox="1">
            <a:spLocks/>
          </p:cNvSpPr>
          <p:nvPr/>
        </p:nvSpPr>
        <p:spPr>
          <a:xfrm>
            <a:off x="431800" y="2478770"/>
            <a:ext cx="3655971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kern="0" dirty="0">
                <a:solidFill>
                  <a:schemeClr val="bg1"/>
                </a:solidFill>
              </a:rPr>
              <a:t>Результативная зона </a:t>
            </a:r>
          </a:p>
        </p:txBody>
      </p:sp>
      <p:sp>
        <p:nvSpPr>
          <p:cNvPr id="4" name="Прямоугольник: скругленные углы 8">
            <a:extLst>
              <a:ext uri="{FF2B5EF4-FFF2-40B4-BE49-F238E27FC236}">
                <a16:creationId xmlns:a16="http://schemas.microsoft.com/office/drawing/2014/main" id="{961B6F46-BD94-F477-3EAD-9587B31B09E5}"/>
              </a:ext>
            </a:extLst>
          </p:cNvPr>
          <p:cNvSpPr/>
          <p:nvPr/>
        </p:nvSpPr>
        <p:spPr bwMode="auto">
          <a:xfrm flipH="1">
            <a:off x="-1" y="177371"/>
            <a:ext cx="5314521" cy="1237833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9403A5D5-CC44-E51B-42A8-5C185E7F5237}"/>
              </a:ext>
            </a:extLst>
          </p:cNvPr>
          <p:cNvSpPr txBox="1">
            <a:spLocks/>
          </p:cNvSpPr>
          <p:nvPr/>
        </p:nvSpPr>
        <p:spPr>
          <a:xfrm>
            <a:off x="431801" y="478956"/>
            <a:ext cx="6488070" cy="61555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4000" b="1" kern="0" dirty="0">
                <a:solidFill>
                  <a:schemeClr val="bg1"/>
                </a:solidFill>
              </a:rPr>
              <a:t>ПОДВЕДЕМ ИТОГ</a:t>
            </a:r>
          </a:p>
        </p:txBody>
      </p:sp>
    </p:spTree>
    <p:extLst>
      <p:ext uri="{BB962C8B-B14F-4D97-AF65-F5344CB8AC3E}">
        <p14:creationId xmlns:p14="http://schemas.microsoft.com/office/powerpoint/2010/main" val="30973408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0840" y="803757"/>
            <a:ext cx="6462320" cy="353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7933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: скругленные углы 8">
            <a:extLst>
              <a:ext uri="{FF2B5EF4-FFF2-40B4-BE49-F238E27FC236}">
                <a16:creationId xmlns:a16="http://schemas.microsoft.com/office/drawing/2014/main" id="{99AAF157-F843-029B-2796-B31EB1F6B445}"/>
              </a:ext>
            </a:extLst>
          </p:cNvPr>
          <p:cNvSpPr/>
          <p:nvPr/>
        </p:nvSpPr>
        <p:spPr bwMode="auto">
          <a:xfrm>
            <a:off x="0" y="3441286"/>
            <a:ext cx="6153912" cy="1723548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/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BFDCB6FF-6477-52D6-EF87-106F292A0A4B}"/>
              </a:ext>
            </a:extLst>
          </p:cNvPr>
          <p:cNvSpPr/>
          <p:nvPr/>
        </p:nvSpPr>
        <p:spPr bwMode="auto">
          <a:xfrm>
            <a:off x="5691320" y="1713285"/>
            <a:ext cx="1728000" cy="1728000"/>
          </a:xfrm>
          <a:prstGeom prst="roundRect">
            <a:avLst>
              <a:gd name="adj" fmla="val 0"/>
            </a:avLst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019F46A6-E8F3-E8B7-BB1D-7B1EE91E513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693650" y="3441285"/>
            <a:ext cx="1728000" cy="1728000"/>
          </a:xfrm>
          <a:custGeom>
            <a:avLst/>
            <a:gdLst>
              <a:gd name="connsiteX0" fmla="*/ 0 w 1728000"/>
              <a:gd name="connsiteY0" fmla="*/ 0 h 1728000"/>
              <a:gd name="connsiteX1" fmla="*/ 1728000 w 1728000"/>
              <a:gd name="connsiteY1" fmla="*/ 0 h 1728000"/>
              <a:gd name="connsiteX2" fmla="*/ 1728000 w 1728000"/>
              <a:gd name="connsiteY2" fmla="*/ 1728000 h 1728000"/>
              <a:gd name="connsiteX3" fmla="*/ 0 w 1728000"/>
              <a:gd name="connsiteY3" fmla="*/ 1728000 h 17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28000" h="1728000">
                <a:moveTo>
                  <a:pt x="0" y="0"/>
                </a:moveTo>
                <a:lnTo>
                  <a:pt x="1728000" y="0"/>
                </a:lnTo>
                <a:lnTo>
                  <a:pt x="1728000" y="1728000"/>
                </a:lnTo>
                <a:lnTo>
                  <a:pt x="0" y="1728000"/>
                </a:lnTo>
                <a:close/>
              </a:path>
            </a:pathLst>
          </a:cu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E16356FE-6674-9EDE-1083-A83617FE2F2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693650" y="-14715"/>
            <a:ext cx="1728000" cy="1728000"/>
          </a:xfrm>
          <a:custGeom>
            <a:avLst/>
            <a:gdLst>
              <a:gd name="connsiteX0" fmla="*/ 0 w 1728000"/>
              <a:gd name="connsiteY0" fmla="*/ 0 h 1728000"/>
              <a:gd name="connsiteX1" fmla="*/ 1728000 w 1728000"/>
              <a:gd name="connsiteY1" fmla="*/ 0 h 1728000"/>
              <a:gd name="connsiteX2" fmla="*/ 1728000 w 1728000"/>
              <a:gd name="connsiteY2" fmla="*/ 1728000 h 1728000"/>
              <a:gd name="connsiteX3" fmla="*/ 0 w 1728000"/>
              <a:gd name="connsiteY3" fmla="*/ 1728000 h 17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28000" h="1728000">
                <a:moveTo>
                  <a:pt x="0" y="0"/>
                </a:moveTo>
                <a:lnTo>
                  <a:pt x="1728000" y="0"/>
                </a:lnTo>
                <a:lnTo>
                  <a:pt x="1728000" y="1728000"/>
                </a:lnTo>
                <a:lnTo>
                  <a:pt x="0" y="1728000"/>
                </a:lnTo>
                <a:close/>
              </a:path>
            </a:pathLst>
          </a:cu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738A85AB-92B5-C342-EF7C-C711F67F4A5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421650" y="0"/>
            <a:ext cx="1728000" cy="1728000"/>
          </a:xfrm>
          <a:custGeom>
            <a:avLst/>
            <a:gdLst>
              <a:gd name="connsiteX0" fmla="*/ 0 w 1728000"/>
              <a:gd name="connsiteY0" fmla="*/ 0 h 1728000"/>
              <a:gd name="connsiteX1" fmla="*/ 1728000 w 1728000"/>
              <a:gd name="connsiteY1" fmla="*/ 0 h 1728000"/>
              <a:gd name="connsiteX2" fmla="*/ 1728000 w 1728000"/>
              <a:gd name="connsiteY2" fmla="*/ 1728000 h 1728000"/>
              <a:gd name="connsiteX3" fmla="*/ 0 w 1728000"/>
              <a:gd name="connsiteY3" fmla="*/ 1728000 h 17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28000" h="1728000">
                <a:moveTo>
                  <a:pt x="0" y="0"/>
                </a:moveTo>
                <a:lnTo>
                  <a:pt x="1728000" y="0"/>
                </a:lnTo>
                <a:lnTo>
                  <a:pt x="1728000" y="1728000"/>
                </a:lnTo>
                <a:lnTo>
                  <a:pt x="0" y="1728000"/>
                </a:lnTo>
                <a:close/>
              </a:path>
            </a:pathLst>
          </a:cu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C7C1BA52-4E78-88DE-9E18-3E05E5DF8F16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flipH="1">
            <a:off x="7421650" y="1713285"/>
            <a:ext cx="1728000" cy="1728000"/>
          </a:xfrm>
          <a:custGeom>
            <a:avLst/>
            <a:gdLst>
              <a:gd name="connsiteX0" fmla="*/ 0 w 1728000"/>
              <a:gd name="connsiteY0" fmla="*/ 0 h 1728000"/>
              <a:gd name="connsiteX1" fmla="*/ 1728000 w 1728000"/>
              <a:gd name="connsiteY1" fmla="*/ 0 h 1728000"/>
              <a:gd name="connsiteX2" fmla="*/ 1728000 w 1728000"/>
              <a:gd name="connsiteY2" fmla="*/ 1728000 h 1728000"/>
              <a:gd name="connsiteX3" fmla="*/ 0 w 1728000"/>
              <a:gd name="connsiteY3" fmla="*/ 1728000 h 17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28000" h="1728000">
                <a:moveTo>
                  <a:pt x="0" y="0"/>
                </a:moveTo>
                <a:lnTo>
                  <a:pt x="1728000" y="0"/>
                </a:lnTo>
                <a:lnTo>
                  <a:pt x="1728000" y="1728000"/>
                </a:lnTo>
                <a:lnTo>
                  <a:pt x="0" y="1728000"/>
                </a:lnTo>
                <a:close/>
              </a:path>
            </a:pathLst>
          </a:custGeom>
        </p:spPr>
      </p:pic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BEC618FB-2C22-45AF-B7A0-AF7C1A529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68481"/>
            <a:ext cx="5141686" cy="1723549"/>
          </a:xfr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2000" b="1" dirty="0">
                <a:gradFill>
                  <a:gsLst>
                    <a:gs pos="0">
                      <a:srgbClr val="80F5D9"/>
                    </a:gs>
                    <a:gs pos="85000">
                      <a:srgbClr val="008C95"/>
                    </a:gs>
                  </a:gsLst>
                  <a:lin ang="2700000" scaled="1"/>
                </a:gradFill>
              </a:rPr>
              <a:t>Выгорание — </a:t>
            </a:r>
            <a:r>
              <a:rPr lang="ru-RU" sz="2000" dirty="0">
                <a:solidFill>
                  <a:srgbClr val="00313C"/>
                </a:solidFill>
              </a:rPr>
              <a:t>состояние физического </a:t>
            </a:r>
            <a:br>
              <a:rPr lang="ru-RU" sz="2000" dirty="0">
                <a:solidFill>
                  <a:srgbClr val="00313C"/>
                </a:solidFill>
              </a:rPr>
            </a:br>
            <a:r>
              <a:rPr lang="ru-RU" sz="2000" dirty="0">
                <a:solidFill>
                  <a:srgbClr val="00313C"/>
                </a:solidFill>
              </a:rPr>
              <a:t>и психического истощения, возникшее </a:t>
            </a:r>
            <a:br>
              <a:rPr lang="ru-RU" sz="2000" dirty="0">
                <a:solidFill>
                  <a:srgbClr val="00313C"/>
                </a:solidFill>
              </a:rPr>
            </a:br>
            <a:r>
              <a:rPr lang="ru-RU" sz="2000" dirty="0">
                <a:solidFill>
                  <a:srgbClr val="00313C"/>
                </a:solidFill>
              </a:rPr>
              <a:t>в ответ на эмоциональное перенапряжение при работе с людьми</a:t>
            </a:r>
            <a:br>
              <a:rPr lang="ru-RU" dirty="0">
                <a:solidFill>
                  <a:schemeClr val="bg1"/>
                </a:solidFill>
              </a:rPr>
            </a:br>
            <a:br>
              <a:rPr lang="ru-RU" dirty="0">
                <a:solidFill>
                  <a:schemeClr val="bg1"/>
                </a:solidFill>
              </a:rPr>
            </a:br>
            <a:r>
              <a:rPr lang="ru-RU" sz="1400" dirty="0"/>
              <a:t>Введено психологом </a:t>
            </a:r>
            <a:r>
              <a:rPr lang="ru-RU" sz="1400" dirty="0" err="1"/>
              <a:t>Фреденбергом</a:t>
            </a:r>
            <a:r>
              <a:rPr lang="ru-RU" sz="1400" dirty="0"/>
              <a:t> в 1974 г.</a:t>
            </a:r>
            <a:endParaRPr lang="ru-RU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69F8942F-EB16-4D89-B442-3F66758FE4D5}"/>
              </a:ext>
            </a:extLst>
          </p:cNvPr>
          <p:cNvSpPr txBox="1">
            <a:spLocks/>
          </p:cNvSpPr>
          <p:nvPr/>
        </p:nvSpPr>
        <p:spPr>
          <a:xfrm>
            <a:off x="718104" y="3745858"/>
            <a:ext cx="4428242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kern="0" dirty="0">
                <a:solidFill>
                  <a:schemeClr val="bg1"/>
                </a:solidFill>
              </a:rPr>
              <a:t>Выгоранию подвержены люди, работающие в системе </a:t>
            </a:r>
            <a:br>
              <a:rPr lang="ru-RU" sz="2000" kern="0" dirty="0">
                <a:solidFill>
                  <a:schemeClr val="bg1"/>
                </a:solidFill>
              </a:rPr>
            </a:br>
            <a:r>
              <a:rPr lang="ru-RU" sz="2000" kern="0" dirty="0">
                <a:solidFill>
                  <a:schemeClr val="bg1"/>
                </a:solidFill>
              </a:rPr>
              <a:t>«</a:t>
            </a:r>
            <a:r>
              <a:rPr lang="ru-RU" sz="2000" b="1" kern="0" dirty="0">
                <a:solidFill>
                  <a:schemeClr val="bg1"/>
                </a:solidFill>
              </a:rPr>
              <a:t>ЧЕЛОВЕК-ЧЕЛОВЕК</a:t>
            </a:r>
            <a:r>
              <a:rPr lang="ru-RU" sz="2000" kern="0" dirty="0">
                <a:solidFill>
                  <a:schemeClr val="bg1"/>
                </a:solidFill>
              </a:rPr>
              <a:t>»</a:t>
            </a:r>
          </a:p>
        </p:txBody>
      </p:sp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EFEBFD8A-196F-F75B-C3BC-D9723EF62968}"/>
              </a:ext>
            </a:extLst>
          </p:cNvPr>
          <p:cNvSpPr/>
          <p:nvPr/>
        </p:nvSpPr>
        <p:spPr bwMode="auto">
          <a:xfrm>
            <a:off x="5992150" y="-2068423"/>
            <a:ext cx="1728000" cy="1728000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E09F47F5-8ADE-A433-1A81-4CCE8BFD520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419320" y="3441285"/>
            <a:ext cx="1724680" cy="1724680"/>
          </a:xfrm>
          <a:prstGeom prst="rect">
            <a:avLst/>
          </a:prstGeom>
        </p:spPr>
      </p:pic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ABB4CDCD-8FA9-D338-7CF9-4AE51C29AF95}"/>
              </a:ext>
            </a:extLst>
          </p:cNvPr>
          <p:cNvCxnSpPr>
            <a:cxnSpLocks/>
          </p:cNvCxnSpPr>
          <p:nvPr/>
        </p:nvCxnSpPr>
        <p:spPr bwMode="auto">
          <a:xfrm flipV="1">
            <a:off x="431800" y="3819920"/>
            <a:ext cx="0" cy="83939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6933782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62" name="Picture 2" descr="Эмоциональное выгорание, профессиональное выгорание - Психологос">
            <a:extLst>
              <a:ext uri="{FF2B5EF4-FFF2-40B4-BE49-F238E27FC236}">
                <a16:creationId xmlns:a16="http://schemas.microsoft.com/office/drawing/2014/main" id="{C0539148-CCCF-1955-180D-D2A28C41ED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19" r="24169"/>
          <a:stretch/>
        </p:blipFill>
        <p:spPr bwMode="auto">
          <a:xfrm flipH="1">
            <a:off x="4772024" y="0"/>
            <a:ext cx="4371975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522A4F28-DFD0-33FA-8170-98F5E8B15299}"/>
              </a:ext>
            </a:extLst>
          </p:cNvPr>
          <p:cNvSpPr/>
          <p:nvPr/>
        </p:nvSpPr>
        <p:spPr bwMode="auto">
          <a:xfrm flipH="1">
            <a:off x="4772024" y="0"/>
            <a:ext cx="4572000" cy="5143500"/>
          </a:xfrm>
          <a:prstGeom prst="rect">
            <a:avLst/>
          </a:prstGeom>
          <a:gradFill flip="none" rotWithShape="1">
            <a:gsLst>
              <a:gs pos="15000">
                <a:srgbClr val="00313C">
                  <a:alpha val="78944"/>
                </a:srgbClr>
              </a:gs>
              <a:gs pos="0">
                <a:srgbClr val="00313C"/>
              </a:gs>
              <a:gs pos="100000">
                <a:srgbClr val="00313C">
                  <a:alpha val="50694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1801" y="1913557"/>
            <a:ext cx="3940173" cy="1316386"/>
          </a:xfrm>
        </p:spPr>
        <p:txBody>
          <a:bodyPr wrap="square">
            <a:spAutoFit/>
          </a:bodyPr>
          <a:lstStyle/>
          <a:p>
            <a:pPr>
              <a:lnSpc>
                <a:spcPct val="109000"/>
              </a:lnSpc>
              <a:spcAft>
                <a:spcPts val="600"/>
              </a:spcAft>
            </a:pPr>
            <a:r>
              <a:rPr lang="ru-RU" sz="2000" dirty="0">
                <a:solidFill>
                  <a:srgbClr val="00313C"/>
                </a:solidFill>
              </a:rPr>
              <a:t>П. В. — это особая форма стресса, который служит защитной реакцией и направлен </a:t>
            </a:r>
            <a:br>
              <a:rPr lang="ru-RU" sz="2000" dirty="0">
                <a:solidFill>
                  <a:srgbClr val="00313C"/>
                </a:solidFill>
              </a:rPr>
            </a:br>
            <a:r>
              <a:rPr lang="ru-RU" sz="2000" dirty="0">
                <a:solidFill>
                  <a:srgbClr val="00313C"/>
                </a:solidFill>
              </a:rPr>
              <a:t>на экономию энергии</a:t>
            </a:r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68FF1104-3793-479A-95A4-A67381AA1829}"/>
              </a:ext>
            </a:extLst>
          </p:cNvPr>
          <p:cNvSpPr/>
          <p:nvPr/>
        </p:nvSpPr>
        <p:spPr bwMode="auto">
          <a:xfrm>
            <a:off x="-176398" y="0"/>
            <a:ext cx="4948424" cy="1502431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80F5D9"/>
              </a:gs>
              <a:gs pos="58000">
                <a:srgbClr val="008C95"/>
              </a:gs>
            </a:gsLst>
            <a:lin ang="27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2AB60C85-0069-4913-A526-24B75E99CB3E}"/>
              </a:ext>
            </a:extLst>
          </p:cNvPr>
          <p:cNvSpPr txBox="1">
            <a:spLocks/>
          </p:cNvSpPr>
          <p:nvPr/>
        </p:nvSpPr>
        <p:spPr>
          <a:xfrm>
            <a:off x="431801" y="313581"/>
            <a:ext cx="41402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b="1" kern="0" dirty="0">
                <a:solidFill>
                  <a:schemeClr val="bg1"/>
                </a:solidFill>
              </a:rPr>
              <a:t>Определение симптома </a:t>
            </a:r>
            <a:br>
              <a:rPr lang="ru-RU" sz="2000" b="1" kern="0" dirty="0">
                <a:solidFill>
                  <a:schemeClr val="bg1"/>
                </a:solidFill>
              </a:rPr>
            </a:br>
            <a:r>
              <a:rPr lang="ru-RU" sz="2000" b="1" kern="0" dirty="0">
                <a:solidFill>
                  <a:schemeClr val="bg1"/>
                </a:solidFill>
              </a:rPr>
              <a:t>профессионального выгорания</a:t>
            </a:r>
            <a:r>
              <a:rPr lang="en-US" sz="2000" b="1" kern="0" dirty="0">
                <a:solidFill>
                  <a:schemeClr val="bg1"/>
                </a:solidFill>
              </a:rPr>
              <a:t> (</a:t>
            </a:r>
            <a:r>
              <a:rPr lang="ru-RU" sz="2000" b="1" kern="0" dirty="0">
                <a:solidFill>
                  <a:schemeClr val="bg1"/>
                </a:solidFill>
              </a:rPr>
              <a:t>П. В.)</a:t>
            </a: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EB712BB5-7CFF-452C-9BA9-EBA2D6C5C708}"/>
              </a:ext>
            </a:extLst>
          </p:cNvPr>
          <p:cNvSpPr txBox="1">
            <a:spLocks/>
          </p:cNvSpPr>
          <p:nvPr/>
        </p:nvSpPr>
        <p:spPr>
          <a:xfrm>
            <a:off x="730982" y="3733291"/>
            <a:ext cx="3441774" cy="92140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fontAlgn="base">
              <a:lnSpc>
                <a:spcPct val="109000"/>
              </a:lnSpc>
              <a:spcBef>
                <a:spcPct val="0"/>
              </a:spcBef>
              <a:spcAft>
                <a:spcPts val="600"/>
              </a:spcAft>
              <a:defRPr lang="ru-RU" sz="16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sz="1400" dirty="0">
                <a:solidFill>
                  <a:srgbClr val="00313C"/>
                </a:solidFill>
              </a:rPr>
              <a:t>Случается когда психо-физические требования работы превышают индивидуальные восстановительные ресурсы личности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3DFAA644-1890-0307-86FE-D4E60AB0DB84}"/>
              </a:ext>
            </a:extLst>
          </p:cNvPr>
          <p:cNvCxnSpPr>
            <a:cxnSpLocks/>
          </p:cNvCxnSpPr>
          <p:nvPr/>
        </p:nvCxnSpPr>
        <p:spPr bwMode="auto">
          <a:xfrm flipV="1">
            <a:off x="431800" y="3801183"/>
            <a:ext cx="0" cy="84460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9626FE5-C6CE-745C-7279-D32C6A8917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00" y="5216647"/>
            <a:ext cx="7861300" cy="3429000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BB8A35B-A0E1-8F15-D96C-DA3B7FF08C68}"/>
              </a:ext>
            </a:extLst>
          </p:cNvPr>
          <p:cNvSpPr/>
          <p:nvPr/>
        </p:nvSpPr>
        <p:spPr bwMode="auto">
          <a:xfrm>
            <a:off x="6901338" y="2292439"/>
            <a:ext cx="1171337" cy="2366875"/>
          </a:xfrm>
          <a:prstGeom prst="rect">
            <a:avLst/>
          </a:prstGeom>
          <a:solidFill>
            <a:srgbClr val="80F5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579FAF6-BC56-3D74-4566-FE3AEBD41BDA}"/>
              </a:ext>
            </a:extLst>
          </p:cNvPr>
          <p:cNvSpPr/>
          <p:nvPr/>
        </p:nvSpPr>
        <p:spPr bwMode="auto">
          <a:xfrm>
            <a:off x="5716400" y="3078050"/>
            <a:ext cx="1171337" cy="15812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C25A7D34-49EA-BBEA-EB48-E821961C3606}"/>
              </a:ext>
            </a:extLst>
          </p:cNvPr>
          <p:cNvSpPr txBox="1">
            <a:spLocks/>
          </p:cNvSpPr>
          <p:nvPr/>
        </p:nvSpPr>
        <p:spPr>
          <a:xfrm>
            <a:off x="6930015" y="4193994"/>
            <a:ext cx="1113983" cy="32271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fontAlgn="base">
              <a:lnSpc>
                <a:spcPct val="109000"/>
              </a:lnSpc>
              <a:spcBef>
                <a:spcPct val="0"/>
              </a:spcBef>
              <a:spcAft>
                <a:spcPts val="600"/>
              </a:spcAft>
              <a:defRPr lang="ru-RU" sz="16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pPr algn="ctr"/>
            <a:r>
              <a:rPr lang="ru-RU" sz="1000" dirty="0">
                <a:solidFill>
                  <a:srgbClr val="00313C"/>
                </a:solidFill>
              </a:rPr>
              <a:t>Психофизические задачи</a:t>
            </a: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9D6A57DD-89AD-A530-45D3-C49D48B7D73C}"/>
              </a:ext>
            </a:extLst>
          </p:cNvPr>
          <p:cNvSpPr txBox="1">
            <a:spLocks/>
          </p:cNvSpPr>
          <p:nvPr/>
        </p:nvSpPr>
        <p:spPr>
          <a:xfrm>
            <a:off x="5795632" y="4193994"/>
            <a:ext cx="1012875" cy="32271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fontAlgn="base">
              <a:lnSpc>
                <a:spcPct val="109000"/>
              </a:lnSpc>
              <a:spcBef>
                <a:spcPct val="0"/>
              </a:spcBef>
              <a:spcAft>
                <a:spcPts val="600"/>
              </a:spcAft>
              <a:defRPr lang="ru-RU" sz="16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pPr algn="ctr"/>
            <a:r>
              <a:rPr lang="ru-RU" sz="1000" dirty="0"/>
              <a:t>Восстановление энергии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C5248667-71B4-0306-F72F-53ACF5A8429C}"/>
              </a:ext>
            </a:extLst>
          </p:cNvPr>
          <p:cNvCxnSpPr>
            <a:cxnSpLocks/>
          </p:cNvCxnSpPr>
          <p:nvPr/>
        </p:nvCxnSpPr>
        <p:spPr bwMode="auto">
          <a:xfrm flipV="1">
            <a:off x="6307083" y="2292439"/>
            <a:ext cx="0" cy="79144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arrow" w="med" len="med"/>
            <a:tailEnd type="arrow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E8E1348E-ECFC-302F-C921-E90D1DB4A032}"/>
              </a:ext>
            </a:extLst>
          </p:cNvPr>
          <p:cNvCxnSpPr>
            <a:cxnSpLocks/>
          </p:cNvCxnSpPr>
          <p:nvPr/>
        </p:nvCxnSpPr>
        <p:spPr bwMode="auto">
          <a:xfrm>
            <a:off x="5726430" y="2292439"/>
            <a:ext cx="117490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F7E47F43-63AD-1F56-F7F6-A12CE268B419}"/>
              </a:ext>
            </a:extLst>
          </p:cNvPr>
          <p:cNvSpPr txBox="1"/>
          <p:nvPr/>
        </p:nvSpPr>
        <p:spPr>
          <a:xfrm>
            <a:off x="5656438" y="2523662"/>
            <a:ext cx="76325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80F5D9"/>
                </a:solidFill>
              </a:rPr>
              <a:t>ГЭП</a:t>
            </a:r>
          </a:p>
        </p:txBody>
      </p:sp>
    </p:spTree>
    <p:extLst>
      <p:ext uri="{BB962C8B-B14F-4D97-AF65-F5344CB8AC3E}">
        <p14:creationId xmlns:p14="http://schemas.microsoft.com/office/powerpoint/2010/main" val="892215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: скругленные углы 8">
            <a:extLst>
              <a:ext uri="{FF2B5EF4-FFF2-40B4-BE49-F238E27FC236}">
                <a16:creationId xmlns:a16="http://schemas.microsoft.com/office/drawing/2014/main" id="{ABDAC568-85A1-02F1-F2C8-36202F62A39A}"/>
              </a:ext>
            </a:extLst>
          </p:cNvPr>
          <p:cNvSpPr/>
          <p:nvPr/>
        </p:nvSpPr>
        <p:spPr bwMode="auto">
          <a:xfrm rot="10800000">
            <a:off x="0" y="1"/>
            <a:ext cx="4071938" cy="5164834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4832" y="1524859"/>
            <a:ext cx="3257106" cy="501699"/>
          </a:xfrm>
        </p:spPr>
        <p:txBody>
          <a:bodyPr/>
          <a:lstStyle/>
          <a:p>
            <a:r>
              <a:rPr lang="ru-RU" sz="4000" b="1" dirty="0">
                <a:solidFill>
                  <a:schemeClr val="bg1"/>
                </a:solidFill>
              </a:rPr>
              <a:t>ВОПРОС:</a:t>
            </a:r>
            <a:br>
              <a:rPr lang="ru-RU" sz="4000" b="1" dirty="0">
                <a:solidFill>
                  <a:schemeClr val="bg1"/>
                </a:solidFill>
              </a:rPr>
            </a:br>
            <a:endParaRPr lang="ru-RU" sz="4000" b="1" dirty="0">
              <a:solidFill>
                <a:schemeClr val="bg1"/>
              </a:solidFill>
            </a:endParaRP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86C04E2-4840-416B-83FD-E0A28F070A91}"/>
              </a:ext>
            </a:extLst>
          </p:cNvPr>
          <p:cNvSpPr txBox="1">
            <a:spLocks/>
          </p:cNvSpPr>
          <p:nvPr/>
        </p:nvSpPr>
        <p:spPr>
          <a:xfrm>
            <a:off x="4959084" y="1625441"/>
            <a:ext cx="3950232" cy="98903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kern="0" dirty="0">
                <a:solidFill>
                  <a:srgbClr val="00313C"/>
                </a:solidFill>
              </a:rPr>
              <a:t>Какие факторы могут привести </a:t>
            </a:r>
            <a:br>
              <a:rPr lang="ru-RU" sz="2000" kern="0" dirty="0">
                <a:solidFill>
                  <a:srgbClr val="00313C"/>
                </a:solidFill>
              </a:rPr>
            </a:br>
            <a:r>
              <a:rPr lang="ru-RU" sz="2000" kern="0" dirty="0">
                <a:solidFill>
                  <a:srgbClr val="00313C"/>
                </a:solidFill>
              </a:rPr>
              <a:t>к профессиональному выгоранию на работе?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87D8341-8EF2-FF9C-8F35-D71BE744ED9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39100" y="3696642"/>
            <a:ext cx="1104900" cy="110490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A65BF30-672D-EA24-9630-1AC2820EFE5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34200" y="3696642"/>
            <a:ext cx="1104900" cy="1104900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849EE153-F9AA-4835-8E5F-C8B4B1113A8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38878" y="3084637"/>
            <a:ext cx="1341054" cy="289217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896944F-C4A0-1733-5879-74DFFFB5B11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29300" y="3701926"/>
            <a:ext cx="1105200" cy="1105200"/>
          </a:xfrm>
          <a:prstGeom prst="rect">
            <a:avLst/>
          </a:prstGeom>
        </p:spPr>
      </p:pic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DB7613A7-AA57-9431-726A-41CDFF52A74C}"/>
              </a:ext>
            </a:extLst>
          </p:cNvPr>
          <p:cNvCxnSpPr>
            <a:cxnSpLocks/>
          </p:cNvCxnSpPr>
          <p:nvPr/>
        </p:nvCxnSpPr>
        <p:spPr bwMode="auto">
          <a:xfrm flipV="1">
            <a:off x="-768351" y="1600200"/>
            <a:ext cx="0" cy="85271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4" name="Рисунок 13" descr="Вопросительный знак со сплошной заливкой">
            <a:extLst>
              <a:ext uri="{FF2B5EF4-FFF2-40B4-BE49-F238E27FC236}">
                <a16:creationId xmlns:a16="http://schemas.microsoft.com/office/drawing/2014/main" id="{6D3F9BC3-CB2E-F912-0D89-CB503BBA5DF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410986" y="195263"/>
            <a:ext cx="1203626" cy="1203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1998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: скругленные углы 8">
            <a:extLst>
              <a:ext uri="{FF2B5EF4-FFF2-40B4-BE49-F238E27FC236}">
                <a16:creationId xmlns:a16="http://schemas.microsoft.com/office/drawing/2014/main" id="{121C0133-3546-124E-C1F6-414EA1920FD4}"/>
              </a:ext>
            </a:extLst>
          </p:cNvPr>
          <p:cNvSpPr/>
          <p:nvPr/>
        </p:nvSpPr>
        <p:spPr bwMode="auto">
          <a:xfrm rot="10800000">
            <a:off x="431800" y="1777148"/>
            <a:ext cx="558000" cy="558676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40144" y="1728195"/>
            <a:ext cx="3422210" cy="646331"/>
          </a:xfrm>
        </p:spPr>
        <p:txBody>
          <a:bodyPr vert="horz" wrap="square" lIns="0" tIns="0" rIns="0" bIns="0" rtlCol="0" anchor="t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00313C"/>
                </a:solidFill>
              </a:rPr>
              <a:t>Работа подразумевает либо высокую плотность внутренних коммуникаций, либо наоборот изолированную работу</a:t>
            </a:r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D684834C-284B-4DD6-9CF5-665E2DB19808}"/>
              </a:ext>
            </a:extLst>
          </p:cNvPr>
          <p:cNvSpPr/>
          <p:nvPr/>
        </p:nvSpPr>
        <p:spPr bwMode="auto">
          <a:xfrm>
            <a:off x="-155244" y="0"/>
            <a:ext cx="9299243" cy="900879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F57EF316-E6F1-4956-830F-3B78652A55AD}"/>
              </a:ext>
            </a:extLst>
          </p:cNvPr>
          <p:cNvSpPr txBox="1">
            <a:spLocks/>
          </p:cNvSpPr>
          <p:nvPr/>
        </p:nvSpPr>
        <p:spPr>
          <a:xfrm>
            <a:off x="431800" y="305033"/>
            <a:ext cx="7095194" cy="30777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b="1" kern="0" dirty="0">
                <a:solidFill>
                  <a:schemeClr val="bg1"/>
                </a:solidFill>
              </a:rPr>
              <a:t>Факторы, влияющие на профессиональное выгорание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40EE8D17-3AFD-41AE-9C17-88FF4C2290D8}"/>
              </a:ext>
            </a:extLst>
          </p:cNvPr>
          <p:cNvSpPr txBox="1">
            <a:spLocks/>
          </p:cNvSpPr>
          <p:nvPr/>
        </p:nvSpPr>
        <p:spPr>
          <a:xfrm>
            <a:off x="5585630" y="1728195"/>
            <a:ext cx="3126570" cy="64633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fontAlgn="base">
              <a:spcBef>
                <a:spcPct val="0"/>
              </a:spcBef>
              <a:spcAft>
                <a:spcPts val="600"/>
              </a:spcAft>
              <a:defRPr lang="ru-RU" sz="1400" smtClean="0"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dirty="0">
                <a:solidFill>
                  <a:srgbClr val="00313C"/>
                </a:solidFill>
              </a:rPr>
              <a:t>Характер деятельности подразумевает многозадачность, скорость и постоянные дедлайны</a:t>
            </a: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F97D0AE5-7085-88CC-B14E-A0CF90B08038}"/>
              </a:ext>
            </a:extLst>
          </p:cNvPr>
          <p:cNvSpPr txBox="1">
            <a:spLocks/>
          </p:cNvSpPr>
          <p:nvPr/>
        </p:nvSpPr>
        <p:spPr>
          <a:xfrm>
            <a:off x="1140144" y="2953762"/>
            <a:ext cx="3126570" cy="64633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Aft>
                <a:spcPts val="600"/>
              </a:spcAft>
            </a:pPr>
            <a:r>
              <a:rPr lang="ru-RU" sz="1400" kern="0" dirty="0">
                <a:solidFill>
                  <a:srgbClr val="00313C"/>
                </a:solidFill>
              </a:rPr>
              <a:t>Существует высокий уровень неопределённости будущих проектов, потенциала роста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8783C9BE-8694-B84D-BA55-08AEF56CC737}"/>
              </a:ext>
            </a:extLst>
          </p:cNvPr>
          <p:cNvSpPr txBox="1">
            <a:spLocks/>
          </p:cNvSpPr>
          <p:nvPr/>
        </p:nvSpPr>
        <p:spPr>
          <a:xfrm>
            <a:off x="1140144" y="4044941"/>
            <a:ext cx="2715930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Aft>
                <a:spcPts val="600"/>
              </a:spcAft>
            </a:pPr>
            <a:r>
              <a:rPr lang="ru-RU" sz="1400" kern="0" dirty="0">
                <a:solidFill>
                  <a:srgbClr val="00313C"/>
                </a:solidFill>
              </a:rPr>
              <a:t>Высокий уровень ответственности</a:t>
            </a: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475E44E0-9D6C-778E-476C-97934FB779DC}"/>
              </a:ext>
            </a:extLst>
          </p:cNvPr>
          <p:cNvSpPr txBox="1">
            <a:spLocks/>
          </p:cNvSpPr>
          <p:nvPr/>
        </p:nvSpPr>
        <p:spPr>
          <a:xfrm>
            <a:off x="5585630" y="2953761"/>
            <a:ext cx="3126570" cy="64633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fontAlgn="base">
              <a:spcBef>
                <a:spcPct val="0"/>
              </a:spcBef>
              <a:spcAft>
                <a:spcPts val="600"/>
              </a:spcAft>
              <a:defRPr lang="ru-RU" sz="1400" smtClean="0"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dirty="0">
                <a:solidFill>
                  <a:srgbClr val="00313C"/>
                </a:solidFill>
              </a:rPr>
              <a:t>Необходимость подкреплять коммуникации эмоциями и/или работать с конфликтами 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B209C89-58E5-7DAE-4BA0-E582E332D899}"/>
              </a:ext>
            </a:extLst>
          </p:cNvPr>
          <p:cNvSpPr txBox="1">
            <a:spLocks/>
          </p:cNvSpPr>
          <p:nvPr/>
        </p:nvSpPr>
        <p:spPr>
          <a:xfrm>
            <a:off x="5585630" y="4044941"/>
            <a:ext cx="2124950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fontAlgn="base">
              <a:spcBef>
                <a:spcPct val="0"/>
              </a:spcBef>
              <a:spcAft>
                <a:spcPts val="600"/>
              </a:spcAft>
              <a:defRPr lang="ru-RU" sz="1400" smtClean="0">
                <a:latin typeface="+mj-lt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77902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1168531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1558042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r>
              <a:rPr lang="ru-RU" dirty="0">
                <a:solidFill>
                  <a:srgbClr val="00313C"/>
                </a:solidFill>
              </a:rPr>
              <a:t>Необходимость работать в нерабочее время</a:t>
            </a: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F61BF3E4-0752-76D8-303D-9E4ACEF7A31C}"/>
              </a:ext>
            </a:extLst>
          </p:cNvPr>
          <p:cNvSpPr txBox="1">
            <a:spLocks/>
          </p:cNvSpPr>
          <p:nvPr/>
        </p:nvSpPr>
        <p:spPr>
          <a:xfrm>
            <a:off x="587228" y="1877731"/>
            <a:ext cx="757043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ts val="0"/>
              </a:spcBef>
              <a:spcAft>
                <a:spcPts val="1000"/>
              </a:spcAft>
            </a:pPr>
            <a:r>
              <a:rPr lang="ru-RU" sz="2000" b="1" dirty="0">
                <a:solidFill>
                  <a:schemeClr val="bg1"/>
                </a:solidFill>
              </a:rPr>
              <a:t>01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25" name="Прямоугольник: скругленные углы 8">
            <a:extLst>
              <a:ext uri="{FF2B5EF4-FFF2-40B4-BE49-F238E27FC236}">
                <a16:creationId xmlns:a16="http://schemas.microsoft.com/office/drawing/2014/main" id="{653DD456-FE13-0236-DD8F-4A9A2DA1540E}"/>
              </a:ext>
            </a:extLst>
          </p:cNvPr>
          <p:cNvSpPr/>
          <p:nvPr/>
        </p:nvSpPr>
        <p:spPr bwMode="auto">
          <a:xfrm rot="10800000">
            <a:off x="431800" y="3012824"/>
            <a:ext cx="558000" cy="558676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/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6C9C5D26-666D-B11B-B0BC-42ABE7DF5895}"/>
              </a:ext>
            </a:extLst>
          </p:cNvPr>
          <p:cNvSpPr txBox="1">
            <a:spLocks/>
          </p:cNvSpPr>
          <p:nvPr/>
        </p:nvSpPr>
        <p:spPr>
          <a:xfrm>
            <a:off x="573052" y="3138273"/>
            <a:ext cx="472615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ts val="0"/>
              </a:spcBef>
              <a:spcAft>
                <a:spcPts val="1000"/>
              </a:spcAft>
            </a:pPr>
            <a:r>
              <a:rPr lang="ru-RU" sz="2000" b="1" dirty="0">
                <a:solidFill>
                  <a:schemeClr val="bg1"/>
                </a:solidFill>
              </a:rPr>
              <a:t>02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26" name="Прямоугольник: скругленные углы 8">
            <a:extLst>
              <a:ext uri="{FF2B5EF4-FFF2-40B4-BE49-F238E27FC236}">
                <a16:creationId xmlns:a16="http://schemas.microsoft.com/office/drawing/2014/main" id="{EADCF9A5-09C3-9CF5-5D80-0E08F169DD65}"/>
              </a:ext>
            </a:extLst>
          </p:cNvPr>
          <p:cNvSpPr/>
          <p:nvPr/>
        </p:nvSpPr>
        <p:spPr bwMode="auto">
          <a:xfrm rot="10800000">
            <a:off x="431800" y="3983931"/>
            <a:ext cx="558000" cy="558676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16C3D320-31F3-989D-6192-BCC126376972}"/>
              </a:ext>
            </a:extLst>
          </p:cNvPr>
          <p:cNvSpPr txBox="1">
            <a:spLocks/>
          </p:cNvSpPr>
          <p:nvPr/>
        </p:nvSpPr>
        <p:spPr>
          <a:xfrm>
            <a:off x="573052" y="4120747"/>
            <a:ext cx="757043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ts val="0"/>
              </a:spcBef>
              <a:spcAft>
                <a:spcPts val="1000"/>
              </a:spcAft>
            </a:pPr>
            <a:r>
              <a:rPr lang="ru-RU" sz="2000" b="1" dirty="0">
                <a:solidFill>
                  <a:schemeClr val="bg1"/>
                </a:solidFill>
              </a:rPr>
              <a:t>03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28" name="Прямоугольник: скругленные углы 8">
            <a:extLst>
              <a:ext uri="{FF2B5EF4-FFF2-40B4-BE49-F238E27FC236}">
                <a16:creationId xmlns:a16="http://schemas.microsoft.com/office/drawing/2014/main" id="{BD7D192C-7A06-BB28-3B4E-9ADC59AE5768}"/>
              </a:ext>
            </a:extLst>
          </p:cNvPr>
          <p:cNvSpPr/>
          <p:nvPr/>
        </p:nvSpPr>
        <p:spPr bwMode="auto">
          <a:xfrm rot="10800000">
            <a:off x="4879350" y="1777148"/>
            <a:ext cx="558000" cy="558676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/>
          </a:p>
        </p:txBody>
      </p:sp>
      <p:sp>
        <p:nvSpPr>
          <p:cNvPr id="29" name="Прямоугольник: скругленные углы 8">
            <a:extLst>
              <a:ext uri="{FF2B5EF4-FFF2-40B4-BE49-F238E27FC236}">
                <a16:creationId xmlns:a16="http://schemas.microsoft.com/office/drawing/2014/main" id="{96F34F79-193F-CED8-7260-1BE5BB51C031}"/>
              </a:ext>
            </a:extLst>
          </p:cNvPr>
          <p:cNvSpPr/>
          <p:nvPr/>
        </p:nvSpPr>
        <p:spPr bwMode="auto">
          <a:xfrm rot="10800000">
            <a:off x="4879350" y="3012824"/>
            <a:ext cx="558000" cy="558676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/>
          </a:p>
        </p:txBody>
      </p:sp>
      <p:sp>
        <p:nvSpPr>
          <p:cNvPr id="30" name="Прямоугольник: скругленные углы 8">
            <a:extLst>
              <a:ext uri="{FF2B5EF4-FFF2-40B4-BE49-F238E27FC236}">
                <a16:creationId xmlns:a16="http://schemas.microsoft.com/office/drawing/2014/main" id="{A638A7AB-5A77-3038-E8B4-4B6B15C59A5E}"/>
              </a:ext>
            </a:extLst>
          </p:cNvPr>
          <p:cNvSpPr/>
          <p:nvPr/>
        </p:nvSpPr>
        <p:spPr bwMode="auto">
          <a:xfrm rot="10800000">
            <a:off x="4879350" y="3983931"/>
            <a:ext cx="558000" cy="558676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/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5C56C40E-F483-1F09-6C28-AF03AE7A6326}"/>
              </a:ext>
            </a:extLst>
          </p:cNvPr>
          <p:cNvSpPr txBox="1">
            <a:spLocks/>
          </p:cNvSpPr>
          <p:nvPr/>
        </p:nvSpPr>
        <p:spPr>
          <a:xfrm>
            <a:off x="5012691" y="1877731"/>
            <a:ext cx="757043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ts val="0"/>
              </a:spcBef>
              <a:spcAft>
                <a:spcPts val="1000"/>
              </a:spcAft>
            </a:pPr>
            <a:r>
              <a:rPr lang="ru-RU" sz="2000" b="1" dirty="0">
                <a:solidFill>
                  <a:schemeClr val="bg1"/>
                </a:solidFill>
              </a:rPr>
              <a:t>04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176C1850-D7FC-4340-95B4-8848D970A48A}"/>
              </a:ext>
            </a:extLst>
          </p:cNvPr>
          <p:cNvSpPr txBox="1">
            <a:spLocks/>
          </p:cNvSpPr>
          <p:nvPr/>
        </p:nvSpPr>
        <p:spPr>
          <a:xfrm>
            <a:off x="5012691" y="4120747"/>
            <a:ext cx="757043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ts val="0"/>
              </a:spcBef>
              <a:spcAft>
                <a:spcPts val="1000"/>
              </a:spcAft>
            </a:pPr>
            <a:r>
              <a:rPr lang="ru-RU" sz="2000" b="1" dirty="0">
                <a:solidFill>
                  <a:schemeClr val="bg1"/>
                </a:solidFill>
              </a:rPr>
              <a:t>06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E9E00168-EE40-074E-366D-3591429A3FB6}"/>
              </a:ext>
            </a:extLst>
          </p:cNvPr>
          <p:cNvSpPr txBox="1">
            <a:spLocks/>
          </p:cNvSpPr>
          <p:nvPr/>
        </p:nvSpPr>
        <p:spPr>
          <a:xfrm>
            <a:off x="5012691" y="3138273"/>
            <a:ext cx="757043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ts val="0"/>
              </a:spcBef>
              <a:spcAft>
                <a:spcPts val="1000"/>
              </a:spcAft>
            </a:pPr>
            <a:r>
              <a:rPr lang="ru-RU" sz="2000" b="1" dirty="0">
                <a:solidFill>
                  <a:schemeClr val="bg1"/>
                </a:solidFill>
              </a:rPr>
              <a:t>05</a:t>
            </a:r>
            <a:endParaRPr lang="ru-RU" sz="900" dirty="0">
              <a:solidFill>
                <a:schemeClr val="bg1"/>
              </a:solidFill>
            </a:endParaRPr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85CCD0A3-B058-5872-53C4-1D5B19A00F5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100000">
            <a:off x="7499094" y="366884"/>
            <a:ext cx="208076" cy="201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8944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2434" name="Picture 2" descr="Как справиться с эмоциональным выгоранием | Как побороть и избавиться от  эмоционального выгорания">
            <a:extLst>
              <a:ext uri="{FF2B5EF4-FFF2-40B4-BE49-F238E27FC236}">
                <a16:creationId xmlns:a16="http://schemas.microsoft.com/office/drawing/2014/main" id="{0D72B145-CCE6-F829-86DB-6CFF1E9C10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3170"/>
            <a:ext cx="9144000" cy="5540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3628DEF2-A0D2-324B-9347-2C300C021B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00" y="-759495"/>
            <a:ext cx="8636400" cy="5292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4F425DA9-3240-7DDB-08FB-6A8D9CC0E0B0}"/>
              </a:ext>
            </a:extLst>
          </p:cNvPr>
          <p:cNvSpPr/>
          <p:nvPr/>
        </p:nvSpPr>
        <p:spPr bwMode="auto">
          <a:xfrm>
            <a:off x="0" y="-23170"/>
            <a:ext cx="9144000" cy="5583711"/>
          </a:xfrm>
          <a:prstGeom prst="rect">
            <a:avLst/>
          </a:prstGeom>
          <a:solidFill>
            <a:srgbClr val="00313C">
              <a:alpha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E41D76E4-D169-1A8C-9053-1F19CDA133F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800" y="2579256"/>
            <a:ext cx="458505" cy="458505"/>
          </a:xfrm>
          <a:prstGeom prst="rect">
            <a:avLst/>
          </a:prstGeom>
        </p:spPr>
      </p:pic>
      <p:sp>
        <p:nvSpPr>
          <p:cNvPr id="30" name="Прямоугольник: скругленные углы 8">
            <a:extLst>
              <a:ext uri="{FF2B5EF4-FFF2-40B4-BE49-F238E27FC236}">
                <a16:creationId xmlns:a16="http://schemas.microsoft.com/office/drawing/2014/main" id="{2DEB5AEE-4DE1-A15D-FA16-0AFC94C34DA2}"/>
              </a:ext>
            </a:extLst>
          </p:cNvPr>
          <p:cNvSpPr/>
          <p:nvPr/>
        </p:nvSpPr>
        <p:spPr bwMode="auto">
          <a:xfrm>
            <a:off x="-789709" y="197526"/>
            <a:ext cx="3834074" cy="818890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F57EF316-E6F1-4956-830F-3B78652A55AD}"/>
              </a:ext>
            </a:extLst>
          </p:cNvPr>
          <p:cNvSpPr txBox="1">
            <a:spLocks/>
          </p:cNvSpPr>
          <p:nvPr/>
        </p:nvSpPr>
        <p:spPr>
          <a:xfrm>
            <a:off x="431800" y="279995"/>
            <a:ext cx="6488071" cy="61555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4000" b="1" kern="0" dirty="0">
                <a:solidFill>
                  <a:schemeClr val="bg1"/>
                </a:solidFill>
              </a:rPr>
              <a:t>Примеры</a:t>
            </a:r>
          </a:p>
        </p:txBody>
      </p:sp>
      <p:sp>
        <p:nvSpPr>
          <p:cNvPr id="32" name="Заголовок 1">
            <a:extLst>
              <a:ext uri="{FF2B5EF4-FFF2-40B4-BE49-F238E27FC236}">
                <a16:creationId xmlns:a16="http://schemas.microsoft.com/office/drawing/2014/main" id="{35B61BAF-CAE6-7788-4B4A-D159C3683B87}"/>
              </a:ext>
            </a:extLst>
          </p:cNvPr>
          <p:cNvSpPr txBox="1">
            <a:spLocks/>
          </p:cNvSpPr>
          <p:nvPr/>
        </p:nvSpPr>
        <p:spPr>
          <a:xfrm>
            <a:off x="431800" y="1096973"/>
            <a:ext cx="6488071" cy="1231106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4000" b="1" kern="0" dirty="0">
                <a:solidFill>
                  <a:schemeClr val="bg1"/>
                </a:solidFill>
              </a:rPr>
              <a:t>ПРОФЕССИОНАЛЬНОГО ВЫГОРАНИЯ </a:t>
            </a:r>
          </a:p>
        </p:txBody>
      </p:sp>
    </p:spTree>
    <p:extLst>
      <p:ext uri="{BB962C8B-B14F-4D97-AF65-F5344CB8AC3E}">
        <p14:creationId xmlns:p14="http://schemas.microsoft.com/office/powerpoint/2010/main" val="27407780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D684834C-284B-4DD6-9CF5-665E2DB19808}"/>
              </a:ext>
            </a:extLst>
          </p:cNvPr>
          <p:cNvSpPr/>
          <p:nvPr/>
        </p:nvSpPr>
        <p:spPr bwMode="auto">
          <a:xfrm>
            <a:off x="-242594" y="-4935"/>
            <a:ext cx="6246352" cy="898328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rgbClr val="80F5D9"/>
              </a:gs>
              <a:gs pos="40000">
                <a:srgbClr val="008C95"/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84AA6B-AA2E-4834-A5FC-A3F55C42EA9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5696208" y="-4935"/>
            <a:ext cx="3460935" cy="346093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B826ED-D15D-4F15-96E4-FEE28EC0F550}"/>
              </a:ext>
            </a:extLst>
          </p:cNvPr>
          <p:cNvSpPr txBox="1"/>
          <p:nvPr/>
        </p:nvSpPr>
        <p:spPr>
          <a:xfrm>
            <a:off x="431800" y="317348"/>
            <a:ext cx="1575249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</a:rPr>
              <a:t>Пример 1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937973C-C9E6-4A21-8A76-9EC36EBF7C73}"/>
              </a:ext>
            </a:extLst>
          </p:cNvPr>
          <p:cNvSpPr txBox="1"/>
          <p:nvPr/>
        </p:nvSpPr>
        <p:spPr>
          <a:xfrm>
            <a:off x="431800" y="1478606"/>
            <a:ext cx="3347184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000" b="1" dirty="0">
                <a:solidFill>
                  <a:srgbClr val="008C95"/>
                </a:solidFill>
              </a:rPr>
              <a:t>Психологический </a:t>
            </a:r>
            <a:br>
              <a:rPr lang="ru-RU" sz="2000" b="1" dirty="0">
                <a:solidFill>
                  <a:srgbClr val="008C95"/>
                </a:solidFill>
              </a:rPr>
            </a:br>
            <a:r>
              <a:rPr lang="ru-RU" sz="2000" b="1" dirty="0">
                <a:solidFill>
                  <a:srgbClr val="008C95"/>
                </a:solidFill>
              </a:rPr>
              <a:t>типаж:</a:t>
            </a:r>
            <a:endParaRPr lang="ru-RU" sz="2000" dirty="0">
              <a:solidFill>
                <a:srgbClr val="008C95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B9BBEA8-5F44-49BF-A2E5-18CDD205ADA9}"/>
              </a:ext>
            </a:extLst>
          </p:cNvPr>
          <p:cNvSpPr txBox="1"/>
          <p:nvPr/>
        </p:nvSpPr>
        <p:spPr>
          <a:xfrm>
            <a:off x="431800" y="3651919"/>
            <a:ext cx="1887655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000" b="1" dirty="0">
                <a:solidFill>
                  <a:srgbClr val="008C95"/>
                </a:solidFill>
              </a:rPr>
              <a:t>Качества:</a:t>
            </a:r>
            <a:endParaRPr lang="ru-RU" sz="2000" dirty="0">
              <a:solidFill>
                <a:srgbClr val="008C95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4B3CDAA-5719-40B7-99DC-923CA1C148A0}"/>
              </a:ext>
            </a:extLst>
          </p:cNvPr>
          <p:cNvSpPr txBox="1"/>
          <p:nvPr/>
        </p:nvSpPr>
        <p:spPr>
          <a:xfrm>
            <a:off x="3294740" y="1471452"/>
            <a:ext cx="2219674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000" b="1" dirty="0">
                <a:solidFill>
                  <a:srgbClr val="008C95"/>
                </a:solidFill>
              </a:rPr>
              <a:t>Симптомы выгорания:</a:t>
            </a:r>
            <a:endParaRPr lang="ru-RU" sz="2000" dirty="0">
              <a:solidFill>
                <a:srgbClr val="008C95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F34BDDA-E204-4898-99D3-45FCB9FF5DF1}"/>
              </a:ext>
            </a:extLst>
          </p:cNvPr>
          <p:cNvSpPr txBox="1"/>
          <p:nvPr/>
        </p:nvSpPr>
        <p:spPr>
          <a:xfrm>
            <a:off x="431800" y="2228353"/>
            <a:ext cx="2628795" cy="101566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313C"/>
                </a:solidFill>
              </a:rPr>
              <a:t>Энергичный</a:t>
            </a:r>
          </a:p>
          <a:p>
            <a:pPr marL="285750" indent="-285750"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313C"/>
                </a:solidFill>
              </a:rPr>
              <a:t>Демонстративный </a:t>
            </a:r>
          </a:p>
          <a:p>
            <a:pPr marL="285750" indent="-285750"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•"/>
            </a:pPr>
            <a:r>
              <a:rPr lang="ru-RU" sz="1400" dirty="0" err="1">
                <a:solidFill>
                  <a:srgbClr val="00313C"/>
                </a:solidFill>
              </a:rPr>
              <a:t>Экстравертированный</a:t>
            </a:r>
            <a:r>
              <a:rPr lang="ru-RU" sz="1400" dirty="0">
                <a:solidFill>
                  <a:srgbClr val="00313C"/>
                </a:solidFill>
              </a:rPr>
              <a:t> лидер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F259105-9317-481A-82A9-2F777EC6966F}"/>
              </a:ext>
            </a:extLst>
          </p:cNvPr>
          <p:cNvSpPr txBox="1"/>
          <p:nvPr/>
        </p:nvSpPr>
        <p:spPr>
          <a:xfrm>
            <a:off x="431800" y="4075212"/>
            <a:ext cx="2012750" cy="5078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285750" indent="-285750"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•"/>
              <a:defRPr sz="1400"/>
            </a:lvl1pPr>
          </a:lstStyle>
          <a:p>
            <a:r>
              <a:rPr lang="ru-RU" dirty="0">
                <a:solidFill>
                  <a:srgbClr val="00313C"/>
                </a:solidFill>
              </a:rPr>
              <a:t>Настроен на победу </a:t>
            </a:r>
          </a:p>
          <a:p>
            <a:r>
              <a:rPr lang="ru-RU" dirty="0">
                <a:solidFill>
                  <a:srgbClr val="00313C"/>
                </a:solidFill>
              </a:rPr>
              <a:t>Не скрывает эмоции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AEA3FED-7AC4-3D17-A880-8D42C84E94DB}"/>
              </a:ext>
            </a:extLst>
          </p:cNvPr>
          <p:cNvSpPr txBox="1"/>
          <p:nvPr/>
        </p:nvSpPr>
        <p:spPr>
          <a:xfrm>
            <a:off x="3322861" y="2228353"/>
            <a:ext cx="3236686" cy="160043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00313C"/>
                </a:solidFill>
              </a:rPr>
              <a:t>Раздражение и гнев</a:t>
            </a:r>
          </a:p>
          <a:p>
            <a:pPr>
              <a:spcAft>
                <a:spcPts val="600"/>
              </a:spcAft>
            </a:pPr>
            <a:endParaRPr lang="ru-RU" sz="1400" dirty="0">
              <a:solidFill>
                <a:srgbClr val="00313C"/>
              </a:solidFill>
            </a:endParaRP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00313C"/>
                </a:solidFill>
              </a:rPr>
              <a:t>Ненормативная лексика </a:t>
            </a:r>
          </a:p>
          <a:p>
            <a:pPr>
              <a:spcAft>
                <a:spcPts val="600"/>
              </a:spcAft>
            </a:pPr>
            <a:endParaRPr lang="ru-RU" sz="1400" dirty="0">
              <a:solidFill>
                <a:srgbClr val="00313C"/>
              </a:solidFill>
            </a:endParaRP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00313C"/>
                </a:solidFill>
              </a:rPr>
              <a:t>Хлопает дверями, </a:t>
            </a:r>
            <a:br>
              <a:rPr lang="ru-RU" sz="1400" dirty="0">
                <a:solidFill>
                  <a:srgbClr val="00313C"/>
                </a:solidFill>
              </a:rPr>
            </a:br>
            <a:r>
              <a:rPr lang="ru-RU" sz="1400" dirty="0">
                <a:solidFill>
                  <a:srgbClr val="00313C"/>
                </a:solidFill>
              </a:rPr>
              <a:t>всех «посылает»</a:t>
            </a:r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9D7CE173-DC71-2F20-772C-7B3640D9FB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473" y="-608354"/>
            <a:ext cx="8636400" cy="5292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id="{0600BAAE-56C5-652D-A3DC-BD70DBA40847}"/>
              </a:ext>
            </a:extLst>
          </p:cNvPr>
          <p:cNvSpPr/>
          <p:nvPr/>
        </p:nvSpPr>
        <p:spPr bwMode="auto">
          <a:xfrm>
            <a:off x="5698679" y="3435751"/>
            <a:ext cx="1728000" cy="1728000"/>
          </a:xfrm>
          <a:prstGeom prst="roundRect">
            <a:avLst>
              <a:gd name="adj" fmla="val 0"/>
            </a:avLst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EE801A64-91D6-FC4F-E19B-31AC2F8D8B53}"/>
              </a:ext>
            </a:extLst>
          </p:cNvPr>
          <p:cNvCxnSpPr>
            <a:cxnSpLocks/>
          </p:cNvCxnSpPr>
          <p:nvPr/>
        </p:nvCxnSpPr>
        <p:spPr bwMode="auto">
          <a:xfrm flipV="1">
            <a:off x="3067414" y="1556458"/>
            <a:ext cx="0" cy="221449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5B734E81-4E21-1958-2AF4-05AAFC4261C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400636" y="2517214"/>
            <a:ext cx="216000" cy="208828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BDC1EA5F-AA5A-347E-A9EC-A80C9006A58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400636" y="3122077"/>
            <a:ext cx="216000" cy="208828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92F33DFA-91D2-57CC-177E-3F7784CB2A7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7429149" y="3435751"/>
            <a:ext cx="1728000" cy="17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7457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AKOy2aSBWb3iLNlO4r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iDM_HyTh2TAnVUjbbBu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sznRjaOOoS40jeWW3oT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sznRjaOOoS40jeWW3o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heme/theme1.xml><?xml version="1.0" encoding="utf-8"?>
<a:theme xmlns:a="http://schemas.openxmlformats.org/drawingml/2006/main" name="Default Theme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fault Theme" id="{C2B3E2E2-877C-4A0B-9E6A-75E2663F6E33}" vid="{95D91212-3B27-474D-90AD-EE89DE4EAB2D}"/>
    </a:ext>
  </a:extLst>
</a:theme>
</file>

<file path=ppt/theme/theme2.xml><?xml version="1.0" encoding="utf-8"?>
<a:theme xmlns:a="http://schemas.openxmlformats.org/drawingml/2006/main" name="Базовые слайды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27DC22F-5057-47A5-B5B5-5E0342230871}"/>
    </a:ext>
  </a:extLst>
</a:theme>
</file>

<file path=ppt/theme/theme3.xml><?xml version="1.0" encoding="utf-8"?>
<a:theme xmlns:a="http://schemas.openxmlformats.org/drawingml/2006/main" name="Одна колонка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CEEE22C-7C20-404B-9A68-8AF6E11D89F5}"/>
    </a:ext>
  </a:extLst>
</a:theme>
</file>

<file path=ppt/theme/theme4.xml><?xml version="1.0" encoding="utf-8"?>
<a:theme xmlns:a="http://schemas.openxmlformats.org/drawingml/2006/main" name="Две колонки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D940D6A-50B1-40A0-A849-B42380E2A9FB}"/>
    </a:ext>
  </a:extLst>
</a:theme>
</file>

<file path=ppt/theme/theme5.xml><?xml version="1.0" encoding="utf-8"?>
<a:theme xmlns:a="http://schemas.openxmlformats.org/drawingml/2006/main" name="Три колонки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5269E648-71A4-4CBE-B97A-02063611A9B8}"/>
    </a:ext>
  </a:extLst>
</a:theme>
</file>

<file path=ppt/theme/theme6.xml><?xml version="1.0" encoding="utf-8"?>
<a:theme xmlns:a="http://schemas.openxmlformats.org/drawingml/2006/main" name="Четыре колонки и более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AABA556F-02CD-43B5-A156-2EE10DC9F001}"/>
    </a:ext>
  </a:extLst>
</a:theme>
</file>

<file path=ppt/theme/theme7.xml><?xml version="1.0" encoding="utf-8"?>
<a:theme xmlns:a="http://schemas.openxmlformats.org/drawingml/2006/main" name="Схемы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CF50E1E-3D05-4BE1-A397-94D3F541EF7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9459</TotalTime>
  <Words>1301</Words>
  <Application>Microsoft Macintosh PowerPoint</Application>
  <PresentationFormat>Экран (16:9)</PresentationFormat>
  <Paragraphs>219</Paragraphs>
  <Slides>3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5</vt:i4>
      </vt:variant>
    </vt:vector>
  </HeadingPairs>
  <TitlesOfParts>
    <vt:vector size="45" baseType="lpstr">
      <vt:lpstr>Arial</vt:lpstr>
      <vt:lpstr>Wingdings</vt:lpstr>
      <vt:lpstr>Default Theme</vt:lpstr>
      <vt:lpstr>Базовые слайды</vt:lpstr>
      <vt:lpstr>Одна колонка</vt:lpstr>
      <vt:lpstr>Две колонки</vt:lpstr>
      <vt:lpstr>Три колонки</vt:lpstr>
      <vt:lpstr>Четыре колонки и более</vt:lpstr>
      <vt:lpstr>Схемы</vt:lpstr>
      <vt:lpstr>Слайд think-cell</vt:lpstr>
      <vt:lpstr>Как не попасть  в капканы</vt:lpstr>
      <vt:lpstr>Старший ментор компании СИБУР</vt:lpstr>
      <vt:lpstr>Что такое выгорание и как его можно распознать</vt:lpstr>
      <vt:lpstr>Выгорание — состояние физического  и психического истощения, возникшее  в ответ на эмоциональное перенапряжение при работе с людьми  Введено психологом Фреденбергом в 1974 г.</vt:lpstr>
      <vt:lpstr>П. В. — это особая форма стресса, который служит защитной реакцией и направлен  на экономию энергии</vt:lpstr>
      <vt:lpstr>ВОПРОС: </vt:lpstr>
      <vt:lpstr>Работа подразумевает либо высокую плотность внутренних коммуникаций, либо наоборот изолированную работу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IBU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ак не попасть в капкан ВЫГОРАНИЯ</dc:title>
  <dc:creator>Митичкина Мария Александровна</dc:creator>
  <cp:lastModifiedBy>tbreevadesign@gmail.com</cp:lastModifiedBy>
  <cp:revision>70</cp:revision>
  <dcterms:created xsi:type="dcterms:W3CDTF">2022-02-16T15:58:43Z</dcterms:created>
  <dcterms:modified xsi:type="dcterms:W3CDTF">2022-08-02T15:29:47Z</dcterms:modified>
</cp:coreProperties>
</file>